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5" r:id="rId1"/>
  </p:sldMasterIdLst>
  <p:notesMasterIdLst>
    <p:notesMasterId r:id="rId14"/>
  </p:notesMasterIdLst>
  <p:handoutMasterIdLst>
    <p:handoutMasterId r:id="rId15"/>
  </p:handoutMasterIdLst>
  <p:sldIdLst>
    <p:sldId id="659" r:id="rId2"/>
    <p:sldId id="797" r:id="rId3"/>
    <p:sldId id="790" r:id="rId4"/>
    <p:sldId id="805" r:id="rId5"/>
    <p:sldId id="793" r:id="rId6"/>
    <p:sldId id="799" r:id="rId7"/>
    <p:sldId id="806" r:id="rId8"/>
    <p:sldId id="801" r:id="rId9"/>
    <p:sldId id="802" r:id="rId10"/>
    <p:sldId id="807" r:id="rId11"/>
    <p:sldId id="804" r:id="rId12"/>
    <p:sldId id="785" r:id="rId13"/>
  </p:sldIdLst>
  <p:sldSz cx="9144000" cy="5143500" type="screen16x9"/>
  <p:notesSz cx="7010400" cy="9296400"/>
  <p:custDataLst>
    <p:tags r:id="rId16"/>
  </p:custDataLst>
  <p:defaultTextStyle>
    <a:defPPr>
      <a:defRPr lang="en-US"/>
    </a:defPPr>
    <a:lvl1pPr marL="0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54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06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60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12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66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919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072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226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781">
          <p15:clr>
            <a:srgbClr val="A4A3A4"/>
          </p15:clr>
        </p15:guide>
        <p15:guide id="2" orient="horz" pos="758">
          <p15:clr>
            <a:srgbClr val="A4A3A4"/>
          </p15:clr>
        </p15:guide>
        <p15:guide id="3" orient="horz" pos="1668">
          <p15:clr>
            <a:srgbClr val="A4A3A4"/>
          </p15:clr>
        </p15:guide>
        <p15:guide id="4" orient="horz" pos="107">
          <p15:clr>
            <a:srgbClr val="A4A3A4"/>
          </p15:clr>
        </p15:guide>
        <p15:guide id="5" orient="horz" pos="3108">
          <p15:clr>
            <a:srgbClr val="A4A3A4"/>
          </p15:clr>
        </p15:guide>
        <p15:guide id="6" orient="horz" pos="2483">
          <p15:clr>
            <a:srgbClr val="A4A3A4"/>
          </p15:clr>
        </p15:guide>
        <p15:guide id="7" orient="horz" pos="337">
          <p15:clr>
            <a:srgbClr val="A4A3A4"/>
          </p15:clr>
        </p15:guide>
        <p15:guide id="8" orient="horz" pos="1889">
          <p15:clr>
            <a:srgbClr val="A4A3A4"/>
          </p15:clr>
        </p15:guide>
        <p15:guide id="9" pos="298">
          <p15:clr>
            <a:srgbClr val="A4A3A4"/>
          </p15:clr>
        </p15:guide>
        <p15:guide id="10" pos="1897">
          <p15:clr>
            <a:srgbClr val="A4A3A4"/>
          </p15:clr>
        </p15:guide>
        <p15:guide id="11" pos="3312">
          <p15:clr>
            <a:srgbClr val="A4A3A4"/>
          </p15:clr>
        </p15:guide>
        <p15:guide id="12" pos="5495">
          <p15:clr>
            <a:srgbClr val="A4A3A4"/>
          </p15:clr>
        </p15:guide>
        <p15:guide id="13" pos="5383">
          <p15:clr>
            <a:srgbClr val="A4A3A4"/>
          </p15:clr>
        </p15:guide>
        <p15:guide id="14" pos="3648">
          <p15:clr>
            <a:srgbClr val="A4A3A4"/>
          </p15:clr>
        </p15:guide>
        <p15:guide id="15" orient="horz" pos="708">
          <p15:clr>
            <a:srgbClr val="A4A3A4"/>
          </p15:clr>
        </p15:guide>
        <p15:guide id="16" pos="290">
          <p15:clr>
            <a:srgbClr val="A4A3A4"/>
          </p15:clr>
        </p15:guide>
        <p15:guide id="17" pos="5482">
          <p15:clr>
            <a:srgbClr val="A4A3A4"/>
          </p15:clr>
        </p15:guide>
        <p15:guide id="18" orient="horz" pos="2951">
          <p15:clr>
            <a:srgbClr val="A4A3A4"/>
          </p15:clr>
        </p15:guide>
        <p15:guide id="19" orient="horz" pos="1684">
          <p15:clr>
            <a:srgbClr val="A4A3A4"/>
          </p15:clr>
        </p15:guide>
        <p15:guide id="20" orient="horz" pos="138">
          <p15:clr>
            <a:srgbClr val="A4A3A4"/>
          </p15:clr>
        </p15:guide>
        <p15:guide id="21" pos="5519">
          <p15:clr>
            <a:srgbClr val="A4A3A4"/>
          </p15:clr>
        </p15:guide>
        <p15:guide id="22" pos="93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2928">
          <p15:clr>
            <a:srgbClr val="A4A3A4"/>
          </p15:clr>
        </p15:guide>
        <p15:guide id="4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Brad Rhodes" initials="BR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FDFD"/>
    <a:srgbClr val="DEE4EE"/>
    <a:srgbClr val="DFE5EF"/>
    <a:srgbClr val="F0FBEB"/>
    <a:srgbClr val="B5EA9A"/>
    <a:srgbClr val="E6E6E6"/>
    <a:srgbClr val="FC9A2D"/>
    <a:srgbClr val="FFFFFF"/>
    <a:srgbClr val="FAAF8E"/>
    <a:srgbClr val="FCB6C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12941" autoAdjust="0"/>
    <p:restoredTop sz="96625" autoAdjust="0"/>
  </p:normalViewPr>
  <p:slideViewPr>
    <p:cSldViewPr snapToGrid="0" showGuides="1">
      <p:cViewPr varScale="1">
        <p:scale>
          <a:sx n="93" d="100"/>
          <a:sy n="93" d="100"/>
        </p:scale>
        <p:origin x="444" y="72"/>
      </p:cViewPr>
      <p:guideLst>
        <p:guide orient="horz" pos="1781"/>
        <p:guide orient="horz" pos="758"/>
        <p:guide orient="horz" pos="1668"/>
        <p:guide orient="horz" pos="107"/>
        <p:guide orient="horz" pos="3108"/>
        <p:guide orient="horz" pos="2483"/>
        <p:guide orient="horz" pos="337"/>
        <p:guide orient="horz" pos="1889"/>
        <p:guide pos="298"/>
        <p:guide pos="1897"/>
        <p:guide pos="3312"/>
        <p:guide pos="5495"/>
        <p:guide pos="5383"/>
        <p:guide pos="3648"/>
        <p:guide orient="horz" pos="708"/>
        <p:guide pos="290"/>
        <p:guide pos="5482"/>
        <p:guide orient="horz" pos="2951"/>
        <p:guide orient="horz" pos="1684"/>
        <p:guide orient="horz" pos="138"/>
        <p:guide pos="5519"/>
        <p:guide pos="93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20" d="100"/>
        <a:sy n="120" d="100"/>
      </p:scale>
      <p:origin x="0" y="0"/>
    </p:cViewPr>
  </p:sorterViewPr>
  <p:notesViewPr>
    <p:cSldViewPr snapToGrid="0" showGuides="1">
      <p:cViewPr varScale="1">
        <p:scale>
          <a:sx n="58" d="100"/>
          <a:sy n="58" d="100"/>
        </p:scale>
        <p:origin x="-1099" y="-67"/>
      </p:cViewPr>
      <p:guideLst>
        <p:guide orient="horz" pos="2880"/>
        <p:guide pos="2160"/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Gai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32</c:f>
              <c:strCache>
                <c:ptCount val="31"/>
                <c:pt idx="0">
                  <c:v>Net margin in 6 months retail sales</c:v>
                </c:pt>
                <c:pt idx="1">
                  <c:v>No  of online transactions returned in 6 months  </c:v>
                </c:pt>
                <c:pt idx="2">
                  <c:v>Net sales using PLCB card in 12 months retail sales</c:v>
                </c:pt>
                <c:pt idx="3">
                  <c:v>Discount availed in 6 months of online sales </c:v>
                </c:pt>
                <c:pt idx="4">
                  <c:v>No of transactions using PLCB card in 12 months online sales </c:v>
                </c:pt>
                <c:pt idx="5">
                  <c:v>Net sales using PLCB card in 6 months online sales in other brands</c:v>
                </c:pt>
                <c:pt idx="6">
                  <c:v>No of divisions  shopped from</c:v>
                </c:pt>
                <c:pt idx="7">
                  <c:v>No of transactions using PLCB card in 12 months sales in other brands</c:v>
                </c:pt>
                <c:pt idx="8">
                  <c:v>No of days since last online purchase</c:v>
                </c:pt>
                <c:pt idx="9">
                  <c:v>No of transactions returned in 12 months retail sales</c:v>
                </c:pt>
                <c:pt idx="10">
                  <c:v>Discount availed in 12 months retail sales</c:v>
                </c:pt>
                <c:pt idx="11">
                  <c:v>No  of days since last online purchase in other brands</c:v>
                </c:pt>
                <c:pt idx="12">
                  <c:v>12 months response rate to direct mail campaigns </c:v>
                </c:pt>
                <c:pt idx="13">
                  <c:v>No of online transactiones returned in other brands in 6 months </c:v>
                </c:pt>
                <c:pt idx="14">
                  <c:v>No of divisions shopped from in online sales</c:v>
                </c:pt>
                <c:pt idx="15">
                  <c:v>Net margin in 12 months online sales</c:v>
                </c:pt>
                <c:pt idx="16">
                  <c:v>Net sales returned in 12 months  online sales</c:v>
                </c:pt>
                <c:pt idx="17">
                  <c:v>Discount availed on promo in 12 months</c:v>
                </c:pt>
                <c:pt idx="18">
                  <c:v>Net sales using PLCB card in 6 months online sales </c:v>
                </c:pt>
                <c:pt idx="19">
                  <c:v>No of items bought on sale in 6 months online sales</c:v>
                </c:pt>
                <c:pt idx="20">
                  <c:v>No of promotions received in 12 months </c:v>
                </c:pt>
                <c:pt idx="21">
                  <c:v>Net sales returned in 12 months  online sales in other brands </c:v>
                </c:pt>
                <c:pt idx="22">
                  <c:v>No of items returned in 6 months of retail sales</c:v>
                </c:pt>
                <c:pt idx="23">
                  <c:v>Net sales dusring promotion in 12 months </c:v>
                </c:pt>
                <c:pt idx="24">
                  <c:v>No of items bought in 6 months of online sales in other brands </c:v>
                </c:pt>
                <c:pt idx="25">
                  <c:v>No of days since acquisition </c:v>
                </c:pt>
                <c:pt idx="26">
                  <c:v>No of items purchased on sale in 6 months retail sales</c:v>
                </c:pt>
                <c:pt idx="27">
                  <c:v>No of divisions shopped from in retail sales</c:v>
                </c:pt>
                <c:pt idx="28">
                  <c:v>Net sales returned in 12 months retail sales in other brands </c:v>
                </c:pt>
                <c:pt idx="29">
                  <c:v>No of items returned in 6 months of retail sales in other brands </c:v>
                </c:pt>
                <c:pt idx="30">
                  <c:v>No of items bought on sales in 12 months retail sales</c:v>
                </c:pt>
              </c:strCache>
            </c:strRef>
          </c:cat>
          <c:val>
            <c:numRef>
              <c:f>Sheet1!$B$2:$B$32</c:f>
              <c:numCache>
                <c:formatCode>0.00%</c:formatCode>
                <c:ptCount val="31"/>
                <c:pt idx="0">
                  <c:v>0.19563141070000001</c:v>
                </c:pt>
                <c:pt idx="1">
                  <c:v>0.16884795250000001</c:v>
                </c:pt>
                <c:pt idx="2">
                  <c:v>0.12669586729999999</c:v>
                </c:pt>
                <c:pt idx="3">
                  <c:v>5.5125586499999997E-2</c:v>
                </c:pt>
                <c:pt idx="4">
                  <c:v>5.4137442799999998E-2</c:v>
                </c:pt>
                <c:pt idx="5">
                  <c:v>4.9842321799999999E-2</c:v>
                </c:pt>
                <c:pt idx="6">
                  <c:v>4.3540343000000002E-2</c:v>
                </c:pt>
                <c:pt idx="7">
                  <c:v>4.0586805400000002E-2</c:v>
                </c:pt>
                <c:pt idx="8">
                  <c:v>3.4031263200000002E-2</c:v>
                </c:pt>
                <c:pt idx="9">
                  <c:v>3.1570042800000003E-2</c:v>
                </c:pt>
                <c:pt idx="10">
                  <c:v>2.9509027300000001E-2</c:v>
                </c:pt>
                <c:pt idx="11">
                  <c:v>2.86873326E-2</c:v>
                </c:pt>
                <c:pt idx="12">
                  <c:v>2.5439206299999999E-2</c:v>
                </c:pt>
                <c:pt idx="13">
                  <c:v>2.4623559600000001E-2</c:v>
                </c:pt>
                <c:pt idx="14">
                  <c:v>2.2345806199999999E-2</c:v>
                </c:pt>
                <c:pt idx="15">
                  <c:v>1.887316E-2</c:v>
                </c:pt>
                <c:pt idx="16">
                  <c:v>1.44949516E-2</c:v>
                </c:pt>
                <c:pt idx="17">
                  <c:v>9.2770439000000003E-3</c:v>
                </c:pt>
                <c:pt idx="18">
                  <c:v>7.5684050999999999E-3</c:v>
                </c:pt>
                <c:pt idx="19">
                  <c:v>4.6206106E-3</c:v>
                </c:pt>
                <c:pt idx="20">
                  <c:v>4.0362688000000002E-3</c:v>
                </c:pt>
                <c:pt idx="21">
                  <c:v>3.9731788000000002E-3</c:v>
                </c:pt>
                <c:pt idx="22">
                  <c:v>1.4766401E-3</c:v>
                </c:pt>
                <c:pt idx="23">
                  <c:v>9.3757439999999997E-4</c:v>
                </c:pt>
                <c:pt idx="24">
                  <c:v>8.3430359999999999E-4</c:v>
                </c:pt>
                <c:pt idx="25">
                  <c:v>7.9633229999999996E-4</c:v>
                </c:pt>
                <c:pt idx="26">
                  <c:v>6.9914870000000004E-4</c:v>
                </c:pt>
                <c:pt idx="27">
                  <c:v>5.9225689999999997E-4</c:v>
                </c:pt>
                <c:pt idx="28">
                  <c:v>5.546409E-4</c:v>
                </c:pt>
                <c:pt idx="29">
                  <c:v>3.4760789999999998E-4</c:v>
                </c:pt>
                <c:pt idx="30">
                  <c:v>3.0390830000000003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17-4377-B35D-5B546CEDE7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428668800"/>
        <c:axId val="428669128"/>
      </c:barChart>
      <c:catAx>
        <c:axId val="4286688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8669128"/>
        <c:crosses val="autoZero"/>
        <c:auto val="1"/>
        <c:lblAlgn val="ctr"/>
        <c:lblOffset val="100"/>
        <c:noMultiLvlLbl val="0"/>
      </c:catAx>
      <c:valAx>
        <c:axId val="42866912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86688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venir LT Std 35 Ligh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324FDB-0419-4D6F-A685-8F4C92A72D33}" type="datetimeFigureOut">
              <a:rPr lang="en-US" smtClean="0">
                <a:latin typeface="Avenir LT Std 35 Light"/>
              </a:rPr>
              <a:pPr/>
              <a:t>10/17/2017</a:t>
            </a:fld>
            <a:endParaRPr lang="en-US" dirty="0">
              <a:latin typeface="Avenir LT Std 35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venir LT Std 35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F548AF-9D1B-4FA7-A072-23DB0BA1B20E}" type="slidenum">
              <a:rPr lang="en-US" smtClean="0">
                <a:latin typeface="Avenir LT Std 35 Light"/>
              </a:rPr>
              <a:pPr/>
              <a:t>‹#›</a:t>
            </a:fld>
            <a:endParaRPr lang="en-US" dirty="0">
              <a:latin typeface="Avenir LT Std 35 Light"/>
            </a:endParaRPr>
          </a:p>
        </p:txBody>
      </p:sp>
    </p:spTree>
    <p:extLst>
      <p:ext uri="{BB962C8B-B14F-4D97-AF65-F5344CB8AC3E}">
        <p14:creationId xmlns:p14="http://schemas.microsoft.com/office/powerpoint/2010/main" val="30970753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venir LT Std 35 Light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venir LT Std 35 Light"/>
              </a:defRPr>
            </a:lvl1pPr>
          </a:lstStyle>
          <a:p>
            <a:fld id="{8A01F283-6A2C-4BDA-B0E6-041D901AB7CE}" type="datetimeFigureOut">
              <a:rPr lang="en-GB" smtClean="0"/>
              <a:pPr/>
              <a:t>17/10/2017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venir LT Std 35 Light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venir LT Std 35 Light"/>
              </a:defRPr>
            </a:lvl1pPr>
          </a:lstStyle>
          <a:p>
            <a:fld id="{2A45E9E0-E2DF-455A-8CF0-BA7CD71D585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72394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06" rtl="0" eaLnBrk="1" latinLnBrk="0" hangingPunct="1">
      <a:defRPr sz="1200" kern="1200">
        <a:solidFill>
          <a:schemeClr val="tx1"/>
        </a:solidFill>
        <a:latin typeface="Avenir LT Std 35 Light"/>
        <a:ea typeface="+mn-ea"/>
        <a:cs typeface="+mn-cs"/>
      </a:defRPr>
    </a:lvl1pPr>
    <a:lvl2pPr marL="457154" algn="l" defTabSz="914306" rtl="0" eaLnBrk="1" latinLnBrk="0" hangingPunct="1">
      <a:defRPr sz="1200" kern="1200">
        <a:solidFill>
          <a:schemeClr val="tx1"/>
        </a:solidFill>
        <a:latin typeface="Avenir LT Std 35 Light"/>
        <a:ea typeface="+mn-ea"/>
        <a:cs typeface="+mn-cs"/>
      </a:defRPr>
    </a:lvl2pPr>
    <a:lvl3pPr marL="914306" algn="l" defTabSz="914306" rtl="0" eaLnBrk="1" latinLnBrk="0" hangingPunct="1">
      <a:defRPr sz="1200" kern="1200">
        <a:solidFill>
          <a:schemeClr val="tx1"/>
        </a:solidFill>
        <a:latin typeface="Avenir LT Std 35 Light"/>
        <a:ea typeface="+mn-ea"/>
        <a:cs typeface="+mn-cs"/>
      </a:defRPr>
    </a:lvl3pPr>
    <a:lvl4pPr marL="1371460" algn="l" defTabSz="914306" rtl="0" eaLnBrk="1" latinLnBrk="0" hangingPunct="1">
      <a:defRPr sz="1200" kern="1200">
        <a:solidFill>
          <a:schemeClr val="tx1"/>
        </a:solidFill>
        <a:latin typeface="Avenir LT Std 35 Light"/>
        <a:ea typeface="+mn-ea"/>
        <a:cs typeface="+mn-cs"/>
      </a:defRPr>
    </a:lvl4pPr>
    <a:lvl5pPr marL="1828612" algn="l" defTabSz="914306" rtl="0" eaLnBrk="1" latinLnBrk="0" hangingPunct="1">
      <a:defRPr sz="1200" kern="1200">
        <a:solidFill>
          <a:schemeClr val="tx1"/>
        </a:solidFill>
        <a:latin typeface="Avenir LT Std 35 Light"/>
        <a:ea typeface="+mn-ea"/>
        <a:cs typeface="+mn-cs"/>
      </a:defRPr>
    </a:lvl5pPr>
    <a:lvl6pPr marL="2285766" algn="l" defTabSz="9143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19" algn="l" defTabSz="9143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72" algn="l" defTabSz="9143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26" algn="l" defTabSz="9143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72645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4120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85074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0996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186801"/>
            <a:ext cx="6597502" cy="11215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4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95325" y="3692100"/>
            <a:ext cx="6477000" cy="4290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74700"/>
            <a:ext cx="6597502" cy="137795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400" b="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grpSp>
        <p:nvGrpSpPr>
          <p:cNvPr id="2" name="Group 5"/>
          <p:cNvGrpSpPr/>
          <p:nvPr userDrawn="1"/>
        </p:nvGrpSpPr>
        <p:grpSpPr>
          <a:xfrm>
            <a:off x="7514711" y="577850"/>
            <a:ext cx="1050204" cy="4114800"/>
            <a:chOff x="7637827" y="577850"/>
            <a:chExt cx="1050204" cy="4114800"/>
          </a:xfrm>
        </p:grpSpPr>
        <p:pic>
          <p:nvPicPr>
            <p:cNvPr id="20" name="Picture 19" descr="6logo_lockup_GREY_EVEN_VERT_01.2016.png"/>
            <p:cNvPicPr>
              <a:picLocks noChangeAspect="1"/>
            </p:cNvPicPr>
            <p:nvPr userDrawn="1"/>
          </p:nvPicPr>
          <p:blipFill>
            <a:blip r:embed="rId2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37827" y="577850"/>
              <a:ext cx="1050204" cy="4114800"/>
            </a:xfrm>
            <a:prstGeom prst="rect">
              <a:avLst/>
            </a:prstGeom>
          </p:spPr>
        </p:pic>
        <p:pic>
          <p:nvPicPr>
            <p:cNvPr id="21" name="Picture 20" descr="6logo_lockup_GREY_EVEN_VERT_01.2016.png"/>
            <p:cNvPicPr>
              <a:picLocks noChangeAspect="1"/>
            </p:cNvPicPr>
            <p:nvPr userDrawn="1"/>
          </p:nvPicPr>
          <p:blipFill rotWithShape="1">
            <a:blip r:embed="rId3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637827" y="3587750"/>
              <a:ext cx="1050204" cy="4000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328338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2064" name="think-cell Slide" r:id="rId4" imgW="572" imgH="572" progId="TCLayout.ActiveDocument.1">
                  <p:embed/>
                </p:oleObj>
              </mc:Choice>
              <mc:Fallback>
                <p:oleObj name="think-cell Slide" r:id="rId4" imgW="572" imgH="572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569913"/>
            <a:ext cx="8380413" cy="7611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69863"/>
            <a:ext cx="8380413" cy="4000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381000" y="1428750"/>
            <a:ext cx="5375275" cy="304800"/>
          </a:xfrm>
        </p:spPr>
        <p:txBody>
          <a:bodyPr/>
          <a:lstStyle>
            <a:lvl1pPr>
              <a:defRPr sz="900" cap="all" baseline="0">
                <a:solidFill>
                  <a:srgbClr val="5A5D60"/>
                </a:solidFill>
                <a:latin typeface="Avenir LT Std 65 Medium" pitchFamily="34" charset="0"/>
              </a:defRPr>
            </a:lvl1pPr>
            <a:lvl2pPr>
              <a:defRPr sz="900">
                <a:solidFill>
                  <a:srgbClr val="5A5D60"/>
                </a:solidFill>
                <a:latin typeface="Avenir LT Std 65 Medium" pitchFamily="34" charset="0"/>
              </a:defRPr>
            </a:lvl2pPr>
            <a:lvl3pPr>
              <a:defRPr sz="900">
                <a:solidFill>
                  <a:srgbClr val="5A5D60"/>
                </a:solidFill>
                <a:latin typeface="Avenir LT Std 65 Medium" pitchFamily="34" charset="0"/>
              </a:defRPr>
            </a:lvl3pPr>
            <a:lvl4pPr>
              <a:defRPr sz="900">
                <a:solidFill>
                  <a:srgbClr val="5A5D60"/>
                </a:solidFill>
                <a:latin typeface="Avenir LT Std 65 Medium" pitchFamily="34" charset="0"/>
              </a:defRPr>
            </a:lvl4pPr>
            <a:lvl5pPr>
              <a:defRPr sz="900">
                <a:solidFill>
                  <a:srgbClr val="5A5D60"/>
                </a:solidFill>
                <a:latin typeface="Avenir LT Std 65 Medium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7"/>
          </p:nvPr>
        </p:nvSpPr>
        <p:spPr>
          <a:xfrm>
            <a:off x="384176" y="1797051"/>
            <a:ext cx="4149725" cy="282646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8"/>
          </p:nvPr>
        </p:nvSpPr>
        <p:spPr>
          <a:xfrm>
            <a:off x="4611688" y="1797051"/>
            <a:ext cx="4149725" cy="282646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24" name="Rectangle 23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453412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71450"/>
            <a:ext cx="8380413" cy="4000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algn="l">
              <a:lnSpc>
                <a:spcPct val="100000"/>
              </a:lnSpc>
              <a:defRPr sz="240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571500"/>
            <a:ext cx="8380413" cy="7239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784017"/>
            <a:ext cx="8380413" cy="7239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1383967"/>
            <a:ext cx="8380413" cy="4000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lang="en-US" sz="2400" b="0" kern="1200" cap="all" dirty="0">
                <a:solidFill>
                  <a:schemeClr val="accent1"/>
                </a:solidFill>
                <a:latin typeface="Avenir LT Std 35 Light"/>
                <a:ea typeface="+mj-ea"/>
                <a:cs typeface="+mj-cs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81000" y="2991991"/>
            <a:ext cx="8380413" cy="7239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2591940"/>
            <a:ext cx="8380413" cy="4000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lang="en-US" sz="2400" b="0" kern="1200" cap="all" dirty="0">
                <a:solidFill>
                  <a:schemeClr val="accent1"/>
                </a:solidFill>
                <a:latin typeface="Avenir LT Std 35 Light"/>
                <a:ea typeface="+mj-ea"/>
                <a:cs typeface="+mj-cs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81000" y="4202235"/>
            <a:ext cx="8380413" cy="7239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381000" y="3802184"/>
            <a:ext cx="8380413" cy="4000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lang="en-US" sz="2400" b="0" kern="1200" cap="all" dirty="0">
                <a:solidFill>
                  <a:schemeClr val="accent1"/>
                </a:solidFill>
                <a:latin typeface="Avenir LT Std 35 Light"/>
                <a:ea typeface="+mj-ea"/>
                <a:cs typeface="+mj-cs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9873816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Caption Mont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 userDrawn="1"/>
        </p:nvSpPr>
        <p:spPr>
          <a:xfrm>
            <a:off x="2270760" y="3044209"/>
            <a:ext cx="2301240" cy="21145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eaLnBrk="1"/>
            <a:endParaRPr lang="en-GB" sz="1600" dirty="0">
              <a:solidFill>
                <a:prstClr val="white"/>
              </a:solidFill>
              <a:latin typeface="Avenir LT Std 35 Light"/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6854952" y="3044194"/>
            <a:ext cx="2273808" cy="209930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eaLnBrk="1"/>
            <a:endParaRPr lang="en-GB" sz="1600" dirty="0">
              <a:solidFill>
                <a:prstClr val="white"/>
              </a:solidFill>
              <a:latin typeface="Avenir LT Std 35 Light"/>
            </a:endParaRPr>
          </a:p>
        </p:txBody>
      </p:sp>
      <p:sp>
        <p:nvSpPr>
          <p:cNvPr id="29" name="Rectangle 28"/>
          <p:cNvSpPr/>
          <p:nvPr userDrawn="1"/>
        </p:nvSpPr>
        <p:spPr>
          <a:xfrm>
            <a:off x="4572000" y="938220"/>
            <a:ext cx="2282952" cy="21059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eaLnBrk="1"/>
            <a:endParaRPr lang="en-GB" sz="1600" dirty="0">
              <a:solidFill>
                <a:prstClr val="white"/>
              </a:solidFill>
              <a:latin typeface="Avenir LT Std 35 Light"/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0" y="938216"/>
            <a:ext cx="2286000" cy="20907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eaLnBrk="1"/>
            <a:endParaRPr lang="en-GB" sz="1600" dirty="0">
              <a:solidFill>
                <a:prstClr val="white"/>
              </a:solidFill>
              <a:latin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023775"/>
            <a:ext cx="2286000" cy="340043"/>
          </a:xfrm>
          <a:prstGeom prst="rect">
            <a:avLst/>
          </a:prstGeom>
        </p:spPr>
        <p:txBody>
          <a:bodyPr lIns="91431" tIns="45716" rIns="91431" bIns="45716" anchor="b"/>
          <a:lstStyle>
            <a:lvl1pPr algn="ctr">
              <a:lnSpc>
                <a:spcPct val="100000"/>
              </a:lnSpc>
              <a:defRPr sz="1600" b="0" cap="all">
                <a:solidFill>
                  <a:schemeClr val="accent3"/>
                </a:solidFill>
                <a:latin typeface="Avenir LT Std 35 Light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2286000" y="938216"/>
            <a:ext cx="2286000" cy="2090737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ctr" defTabSz="9143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/>
              <a:t>Place your picture in this grey area, crop accordingly </a:t>
            </a:r>
            <a:br>
              <a:rPr lang="en-GB" dirty="0"/>
            </a:br>
            <a:r>
              <a:rPr lang="en-GB" dirty="0"/>
              <a:t>and then delete this instruction bo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0" y="1885950"/>
            <a:ext cx="2286000" cy="4829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accent3"/>
                </a:solidFill>
                <a:latin typeface="Avenir LT Std 35 Light"/>
              </a:defRPr>
            </a:lvl1pPr>
            <a:lvl2pPr marL="457154" indent="0">
              <a:buNone/>
              <a:defRPr sz="1200"/>
            </a:lvl2pPr>
            <a:lvl3pPr marL="914306" indent="0">
              <a:buNone/>
              <a:defRPr sz="1000"/>
            </a:lvl3pPr>
            <a:lvl4pPr marL="1371460" indent="0">
              <a:buNone/>
              <a:defRPr sz="900"/>
            </a:lvl4pPr>
            <a:lvl5pPr marL="1828612" indent="0">
              <a:buNone/>
              <a:defRPr sz="900"/>
            </a:lvl5pPr>
            <a:lvl6pPr marL="2285766" indent="0">
              <a:buNone/>
              <a:defRPr sz="900"/>
            </a:lvl6pPr>
            <a:lvl7pPr marL="2742919" indent="0">
              <a:buNone/>
              <a:defRPr sz="900"/>
            </a:lvl7pPr>
            <a:lvl8pPr marL="3200072" indent="0">
              <a:buNone/>
              <a:defRPr sz="900"/>
            </a:lvl8pPr>
            <a:lvl9pPr marL="3657226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10"/>
          </p:nvPr>
        </p:nvSpPr>
        <p:spPr>
          <a:xfrm>
            <a:off x="2286000" y="3989071"/>
            <a:ext cx="2286000" cy="4829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accent3"/>
                </a:solidFill>
                <a:latin typeface="Avenir LT Std 35 Light"/>
              </a:defRPr>
            </a:lvl1pPr>
            <a:lvl2pPr marL="457154" indent="0">
              <a:buNone/>
              <a:defRPr sz="1200"/>
            </a:lvl2pPr>
            <a:lvl3pPr marL="914306" indent="0">
              <a:buNone/>
              <a:defRPr sz="1000"/>
            </a:lvl3pPr>
            <a:lvl4pPr marL="1371460" indent="0">
              <a:buNone/>
              <a:defRPr sz="900"/>
            </a:lvl4pPr>
            <a:lvl5pPr marL="1828612" indent="0">
              <a:buNone/>
              <a:defRPr sz="900"/>
            </a:lvl5pPr>
            <a:lvl6pPr marL="2285766" indent="0">
              <a:buNone/>
              <a:defRPr sz="900"/>
            </a:lvl6pPr>
            <a:lvl7pPr marL="2742919" indent="0">
              <a:buNone/>
              <a:defRPr sz="900"/>
            </a:lvl7pPr>
            <a:lvl8pPr marL="3200072" indent="0">
              <a:buNone/>
              <a:defRPr sz="900"/>
            </a:lvl8pPr>
            <a:lvl9pPr marL="3657226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idx="11" hasCustomPrompt="1"/>
          </p:nvPr>
        </p:nvSpPr>
        <p:spPr>
          <a:xfrm>
            <a:off x="0" y="3028950"/>
            <a:ext cx="2286000" cy="2114549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3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/>
              <a:t>Place your picture in this grey area, crop accordingly </a:t>
            </a:r>
            <a:br>
              <a:rPr lang="en-GB" dirty="0"/>
            </a:br>
            <a:r>
              <a:rPr lang="en-GB" dirty="0"/>
              <a:t>and then delete this instruction box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6858000" y="938216"/>
            <a:ext cx="2286000" cy="2090737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ctr" defTabSz="9143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/>
              <a:t>Place your picture in this grey area, crop accordingly </a:t>
            </a:r>
            <a:br>
              <a:rPr lang="en-GB" dirty="0"/>
            </a:br>
            <a:r>
              <a:rPr lang="en-GB" dirty="0"/>
              <a:t>and then delete this instruction box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4572000" y="1885950"/>
            <a:ext cx="2286000" cy="4829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accent3"/>
                </a:solidFill>
                <a:latin typeface="Avenir LT Std 35 Light"/>
              </a:defRPr>
            </a:lvl1pPr>
            <a:lvl2pPr marL="457154" indent="0">
              <a:buNone/>
              <a:defRPr sz="1200"/>
            </a:lvl2pPr>
            <a:lvl3pPr marL="914306" indent="0">
              <a:buNone/>
              <a:defRPr sz="1000"/>
            </a:lvl3pPr>
            <a:lvl4pPr marL="1371460" indent="0">
              <a:buNone/>
              <a:defRPr sz="900"/>
            </a:lvl4pPr>
            <a:lvl5pPr marL="1828612" indent="0">
              <a:buNone/>
              <a:defRPr sz="900"/>
            </a:lvl5pPr>
            <a:lvl6pPr marL="2285766" indent="0">
              <a:buNone/>
              <a:defRPr sz="900"/>
            </a:lvl6pPr>
            <a:lvl7pPr marL="2742919" indent="0">
              <a:buNone/>
              <a:defRPr sz="900"/>
            </a:lvl7pPr>
            <a:lvl8pPr marL="3200072" indent="0">
              <a:buNone/>
              <a:defRPr sz="900"/>
            </a:lvl8pPr>
            <a:lvl9pPr marL="3657226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4562475" y="3028950"/>
            <a:ext cx="2286000" cy="21145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/>
              <a:t>Place your picture in this grey area, crop accordingly </a:t>
            </a:r>
            <a:br>
              <a:rPr lang="en-GB" dirty="0"/>
            </a:br>
            <a:r>
              <a:rPr lang="en-GB" dirty="0"/>
              <a:t>and then delete this instruction box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15"/>
          </p:nvPr>
        </p:nvSpPr>
        <p:spPr>
          <a:xfrm>
            <a:off x="6858000" y="3989071"/>
            <a:ext cx="2286000" cy="4829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accent3"/>
                </a:solidFill>
                <a:latin typeface="Avenir LT Std 35 Light"/>
              </a:defRPr>
            </a:lvl1pPr>
            <a:lvl2pPr marL="457154" indent="0">
              <a:buNone/>
              <a:defRPr sz="1200"/>
            </a:lvl2pPr>
            <a:lvl3pPr marL="914306" indent="0">
              <a:buNone/>
              <a:defRPr sz="1000"/>
            </a:lvl3pPr>
            <a:lvl4pPr marL="1371460" indent="0">
              <a:buNone/>
              <a:defRPr sz="900"/>
            </a:lvl4pPr>
            <a:lvl5pPr marL="1828612" indent="0">
              <a:buNone/>
              <a:defRPr sz="900"/>
            </a:lvl5pPr>
            <a:lvl6pPr marL="2285766" indent="0">
              <a:buNone/>
              <a:defRPr sz="900"/>
            </a:lvl6pPr>
            <a:lvl7pPr marL="2742919" indent="0">
              <a:buNone/>
              <a:defRPr sz="900"/>
            </a:lvl7pPr>
            <a:lvl8pPr marL="3200072" indent="0">
              <a:buNone/>
              <a:defRPr sz="900"/>
            </a:lvl8pPr>
            <a:lvl9pPr marL="3657226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1365884"/>
            <a:ext cx="2286000" cy="32004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0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17" hasCustomPrompt="1"/>
          </p:nvPr>
        </p:nvSpPr>
        <p:spPr>
          <a:xfrm>
            <a:off x="4572000" y="1365884"/>
            <a:ext cx="2286000" cy="32004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0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8" hasCustomPrompt="1"/>
          </p:nvPr>
        </p:nvSpPr>
        <p:spPr>
          <a:xfrm>
            <a:off x="2286000" y="3535680"/>
            <a:ext cx="2286000" cy="32004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0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9" hasCustomPrompt="1"/>
          </p:nvPr>
        </p:nvSpPr>
        <p:spPr>
          <a:xfrm>
            <a:off x="6870192" y="3535680"/>
            <a:ext cx="2286000" cy="32004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0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0" y="1058972"/>
            <a:ext cx="2286000" cy="304800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lnSpc>
                <a:spcPct val="100000"/>
              </a:lnSpc>
              <a:defRPr sz="1600" b="0" cap="all">
                <a:solidFill>
                  <a:schemeClr val="accent3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21" hasCustomPrompt="1"/>
          </p:nvPr>
        </p:nvSpPr>
        <p:spPr>
          <a:xfrm>
            <a:off x="2286000" y="3176271"/>
            <a:ext cx="2286000" cy="365760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lnSpc>
                <a:spcPct val="100000"/>
              </a:lnSpc>
              <a:defRPr sz="1600" b="0" cap="all">
                <a:solidFill>
                  <a:schemeClr val="accent3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7" name="Text Placeholder 24"/>
          <p:cNvSpPr>
            <a:spLocks noGrp="1"/>
          </p:cNvSpPr>
          <p:nvPr>
            <p:ph type="body" sz="quarter" idx="22" hasCustomPrompt="1"/>
          </p:nvPr>
        </p:nvSpPr>
        <p:spPr>
          <a:xfrm>
            <a:off x="6870192" y="3174577"/>
            <a:ext cx="2286000" cy="365760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lnSpc>
                <a:spcPct val="100000"/>
              </a:lnSpc>
              <a:defRPr sz="1600" b="0" cap="all">
                <a:solidFill>
                  <a:schemeClr val="accent3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4572000" y="285750"/>
            <a:ext cx="4038600" cy="45720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2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 EMPHASIS</a:t>
            </a:r>
            <a:endParaRPr lang="en-GB" dirty="0"/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548640" y="285750"/>
            <a:ext cx="4038600" cy="45720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2400" b="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Headline</a:t>
            </a:r>
            <a:endParaRPr lang="en-GB" dirty="0"/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36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34219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>
            <a:noAutofit/>
          </a:bodyPr>
          <a:lstStyle>
            <a:lvl1pPr algn="ctr">
              <a:defRPr b="0" i="0" baseline="0">
                <a:latin typeface="Avenir LT Std 35 Light"/>
              </a:defRPr>
            </a:lvl1pPr>
          </a:lstStyle>
          <a:p>
            <a:r>
              <a:rPr lang="en-GB" dirty="0"/>
              <a:t>Place your picture in this grey area, </a:t>
            </a:r>
            <a:br>
              <a:rPr lang="en-GB" dirty="0"/>
            </a:br>
            <a:r>
              <a:rPr lang="en-GB" dirty="0"/>
              <a:t>crop accordingly </a:t>
            </a:r>
            <a:br>
              <a:rPr lang="en-GB" dirty="0"/>
            </a:br>
            <a:r>
              <a:rPr lang="en-GB" dirty="0"/>
              <a:t>and then delete this instruction bo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176" y="1211418"/>
            <a:ext cx="4340225" cy="2620963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defRPr kern="1200" cap="all" baseline="0">
                <a:solidFill>
                  <a:schemeClr val="tx1"/>
                </a:solidFill>
                <a:latin typeface="Avenir LT Std 35 Light"/>
              </a:defRPr>
            </a:lvl1pPr>
          </a:lstStyle>
          <a:p>
            <a:r>
              <a:rPr lang="en-GB"/>
              <a:t>CLICK TO ADD TEXT OVER YOUR IMAG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21371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87260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08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5" y="169863"/>
            <a:ext cx="8377238" cy="954087"/>
          </a:xfrm>
          <a:prstGeom prst="rect">
            <a:avLst/>
          </a:prstGeom>
        </p:spPr>
        <p:txBody>
          <a:bodyPr lIns="0" tIns="0" rIns="0" bIns="45716"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Rectangle 4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19852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4112" name="think-cell Slide" r:id="rId4" imgW="572" imgH="572" progId="TCLayout.ActiveDocument.1">
                  <p:embed/>
                </p:oleObj>
              </mc:Choice>
              <mc:Fallback>
                <p:oleObj name="think-cell Slide" r:id="rId4" imgW="572" imgH="572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5" y="169863"/>
            <a:ext cx="8377238" cy="95408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 b="0">
                <a:latin typeface="Avenir LT Std 45 Book" pitchFamily="34" charset="0"/>
                <a:sym typeface="Calibri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4176" y="1211007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713288" y="1211007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643947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136" name="think-cell Slide" r:id="rId4" imgW="572" imgH="572" progId="TCLayout.ActiveDocument.1">
                  <p:embed/>
                </p:oleObj>
              </mc:Choice>
              <mc:Fallback>
                <p:oleObj name="think-cell Slide" r:id="rId4" imgW="572" imgH="572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5" y="169863"/>
            <a:ext cx="8377238" cy="95408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 b="0">
                <a:latin typeface="Avenir LT Std 45 Book" pitchFamily="34" charset="0"/>
                <a:sym typeface="Calibri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4176" y="1211007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713288" y="1211007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84176" y="3082025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713288" y="3082025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74161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685800" y="2186801"/>
            <a:ext cx="7410450" cy="11215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4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30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95325" y="3692099"/>
            <a:ext cx="6477000" cy="4290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31" name="Text Placeholder 4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85800" y="774700"/>
            <a:ext cx="7410450" cy="137795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400" b="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grpSp>
        <p:nvGrpSpPr>
          <p:cNvPr id="2" name="Group 39"/>
          <p:cNvGrpSpPr>
            <a:grpSpLocks noChangeAspect="1"/>
          </p:cNvGrpSpPr>
          <p:nvPr userDrawn="1"/>
        </p:nvGrpSpPr>
        <p:grpSpPr>
          <a:xfrm>
            <a:off x="762007" y="4406902"/>
            <a:ext cx="7616919" cy="311150"/>
            <a:chOff x="762001" y="4540250"/>
            <a:chExt cx="7434072" cy="300993"/>
          </a:xfrm>
        </p:grpSpPr>
        <p:pic>
          <p:nvPicPr>
            <p:cNvPr id="41" name="Picture 40" descr="6logo_lockup_GREY_EVEN_01.2016.png"/>
            <p:cNvPicPr>
              <a:picLocks noChangeAspect="1"/>
            </p:cNvPicPr>
            <p:nvPr userDrawn="1"/>
          </p:nvPicPr>
          <p:blipFill>
            <a:blip r:embed="rId2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2001" y="4540250"/>
              <a:ext cx="7434072" cy="295305"/>
            </a:xfrm>
            <a:prstGeom prst="rect">
              <a:avLst/>
            </a:prstGeom>
          </p:spPr>
        </p:pic>
        <p:pic>
          <p:nvPicPr>
            <p:cNvPr id="42" name="Picture 41" descr="6logo_lockup_GREY_EVEN_01.2016.png"/>
            <p:cNvPicPr>
              <a:picLocks noChangeAspect="1"/>
            </p:cNvPicPr>
            <p:nvPr userDrawn="1"/>
          </p:nvPicPr>
          <p:blipFill rotWithShape="1">
            <a:blip r:embed="rId3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085164" y="4580069"/>
              <a:ext cx="860425" cy="2611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85294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/Presenta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219" y="1906074"/>
            <a:ext cx="4129232" cy="21507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4000" cap="all" baseline="0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6445" y="4219050"/>
            <a:ext cx="6477000" cy="429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b="0" kern="0" cap="all" spc="200" baseline="0" dirty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 algn="l"/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68668" y="1379381"/>
            <a:ext cx="8392745" cy="457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1600" b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568690" y="1906073"/>
            <a:ext cx="4192724" cy="215077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4000" cap="all">
                <a:solidFill>
                  <a:schemeClr val="accent1"/>
                </a:solidFill>
                <a:latin typeface="Avenir LT Std 35 Light"/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58348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/Presenta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1000" y="1365250"/>
            <a:ext cx="4292600" cy="163831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3600" cap="all" baseline="0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1000" y="4050280"/>
            <a:ext cx="6477000" cy="429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en-US" sz="900" b="0" kern="0" cap="all" spc="200" baseline="0" dirty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 algn="l"/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81000" y="3070224"/>
            <a:ext cx="7308850" cy="746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2400" b="0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34286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504950"/>
            <a:ext cx="3733800" cy="2209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>
              <a:lnSpc>
                <a:spcPct val="100000"/>
              </a:lnSpc>
              <a:defRPr sz="400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410200" y="1310614"/>
            <a:ext cx="3657600" cy="22702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5410200" y="1537639"/>
            <a:ext cx="3657600" cy="380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half" idx="15" hasCustomPrompt="1"/>
          </p:nvPr>
        </p:nvSpPr>
        <p:spPr>
          <a:xfrm>
            <a:off x="5410200" y="2148825"/>
            <a:ext cx="3657600" cy="22702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half" idx="16" hasCustomPrompt="1"/>
          </p:nvPr>
        </p:nvSpPr>
        <p:spPr>
          <a:xfrm>
            <a:off x="5410200" y="2375852"/>
            <a:ext cx="3657600" cy="380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half" idx="17" hasCustomPrompt="1"/>
          </p:nvPr>
        </p:nvSpPr>
        <p:spPr>
          <a:xfrm>
            <a:off x="5410200" y="2987025"/>
            <a:ext cx="3657600" cy="22702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18" hasCustomPrompt="1"/>
          </p:nvPr>
        </p:nvSpPr>
        <p:spPr>
          <a:xfrm>
            <a:off x="5410200" y="3214052"/>
            <a:ext cx="3657600" cy="380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half" idx="19" hasCustomPrompt="1"/>
          </p:nvPr>
        </p:nvSpPr>
        <p:spPr>
          <a:xfrm>
            <a:off x="5410200" y="3844275"/>
            <a:ext cx="3657600" cy="22702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half" idx="20" hasCustomPrompt="1"/>
          </p:nvPr>
        </p:nvSpPr>
        <p:spPr>
          <a:xfrm>
            <a:off x="5410200" y="4071302"/>
            <a:ext cx="3657600" cy="380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half" idx="21" hasCustomPrompt="1"/>
          </p:nvPr>
        </p:nvSpPr>
        <p:spPr>
          <a:xfrm>
            <a:off x="5410200" y="472414"/>
            <a:ext cx="3657600" cy="22702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8" name="Content Placeholder 3"/>
          <p:cNvSpPr>
            <a:spLocks noGrp="1"/>
          </p:cNvSpPr>
          <p:nvPr>
            <p:ph sz="half" idx="22" hasCustomPrompt="1"/>
          </p:nvPr>
        </p:nvSpPr>
        <p:spPr>
          <a:xfrm>
            <a:off x="5410200" y="699438"/>
            <a:ext cx="3657600" cy="380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20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66000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Conten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69863"/>
            <a:ext cx="8380413" cy="4000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8310" y="1857378"/>
            <a:ext cx="2209800" cy="20228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>
                <a:solidFill>
                  <a:schemeClr val="accent3"/>
                </a:solidFill>
                <a:latin typeface="Avenir LT Std 35 Light"/>
              </a:defRPr>
            </a:lvl1pPr>
            <a:lvl2pPr marL="457154" indent="0" algn="l">
              <a:buNone/>
              <a:defRPr sz="1800">
                <a:solidFill>
                  <a:schemeClr val="accent3"/>
                </a:solidFill>
                <a:latin typeface="AvenirNext LT Pro Regular" pitchFamily="34" charset="0"/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3467100" y="1857378"/>
            <a:ext cx="2209800" cy="20228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>
                <a:solidFill>
                  <a:schemeClr val="accent3"/>
                </a:solidFill>
                <a:latin typeface="Avenir LT Std 35 Light"/>
              </a:defRPr>
            </a:lvl1pPr>
            <a:lvl2pPr marL="457154" indent="0" algn="l">
              <a:buNone/>
              <a:defRPr sz="1800">
                <a:solidFill>
                  <a:schemeClr val="accent3"/>
                </a:solidFill>
                <a:latin typeface="AvenirNext LT Pro Regular" pitchFamily="34" charset="0"/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495890" y="1857378"/>
            <a:ext cx="2209800" cy="20228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>
                <a:solidFill>
                  <a:schemeClr val="accent3"/>
                </a:solidFill>
                <a:latin typeface="Avenir LT Std 35 Light"/>
              </a:defRPr>
            </a:lvl1pPr>
            <a:lvl2pPr marL="457154" indent="0" algn="l">
              <a:buNone/>
              <a:defRPr sz="1800">
                <a:solidFill>
                  <a:schemeClr val="accent3"/>
                </a:solidFill>
                <a:latin typeface="AvenirNext LT Pro Regular" pitchFamily="34" charset="0"/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569912"/>
            <a:ext cx="8380413" cy="7611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80967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&amp; Content">
    <p:bg>
      <p:bgPr>
        <a:solidFill>
          <a:schemeClr val="accent3">
            <a:alpha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1905000" y="0"/>
            <a:ext cx="502920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/>
              <a:t>Place your picture </a:t>
            </a:r>
            <a:br>
              <a:rPr lang="en-GB" dirty="0"/>
            </a:br>
            <a:r>
              <a:rPr lang="en-GB" dirty="0"/>
              <a:t>in this grey area, </a:t>
            </a:r>
            <a:br>
              <a:rPr lang="en-GB" dirty="0"/>
            </a:br>
            <a:r>
              <a:rPr lang="en-GB" dirty="0"/>
              <a:t>crop accordingly </a:t>
            </a:r>
            <a:br>
              <a:rPr lang="en-GB" dirty="0"/>
            </a:br>
            <a:r>
              <a:rPr lang="en-GB" dirty="0"/>
              <a:t>and then delete </a:t>
            </a:r>
            <a:br>
              <a:rPr lang="en-GB" dirty="0"/>
            </a:br>
            <a:r>
              <a:rPr lang="en-GB" dirty="0"/>
              <a:t>this instruction box</a:t>
            </a:r>
          </a:p>
        </p:txBody>
      </p:sp>
    </p:spTree>
    <p:extLst>
      <p:ext uri="{BB962C8B-B14F-4D97-AF65-F5344CB8AC3E}">
        <p14:creationId xmlns:p14="http://schemas.microsoft.com/office/powerpoint/2010/main" val="27032944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4070" y="1356590"/>
            <a:ext cx="6972880" cy="364721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400" cap="all" baseline="0">
                <a:solidFill>
                  <a:schemeClr val="accent1"/>
                </a:solidFill>
                <a:latin typeface="Avenir LT Std 35 Light"/>
                <a:cs typeface="Avenir LT Std 35 Light"/>
              </a:defRPr>
            </a:lvl1pPr>
            <a:lvl2pPr>
              <a:defRPr sz="5400">
                <a:latin typeface="Avenir Light"/>
                <a:cs typeface="Avenir Light"/>
              </a:defRPr>
            </a:lvl2pPr>
            <a:lvl3pPr>
              <a:defRPr sz="5400">
                <a:latin typeface="Avenir Light"/>
                <a:cs typeface="Avenir Light"/>
              </a:defRPr>
            </a:lvl3pPr>
            <a:lvl4pPr>
              <a:defRPr sz="5400">
                <a:latin typeface="Avenir Light"/>
                <a:cs typeface="Avenir Light"/>
              </a:defRPr>
            </a:lvl4pPr>
            <a:lvl5pPr>
              <a:defRPr sz="5400">
                <a:latin typeface="Avenir Light"/>
                <a:cs typeface="Avenir Light"/>
              </a:defRPr>
            </a:lvl5pPr>
          </a:lstStyle>
          <a:p>
            <a:pPr lvl="0"/>
            <a:r>
              <a:rPr lang="en-GB"/>
              <a:t>CLICK TO ADD QUOTE OR KEY MESSAGE 10-15 WORDS 5 LINES MAX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74071" y="869951"/>
            <a:ext cx="5375275" cy="4479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900" b="0" i="0" kern="0" cap="all" spc="200">
                <a:solidFill>
                  <a:schemeClr val="accent3"/>
                </a:solidFill>
                <a:latin typeface="Avenir LT Std 95 Black"/>
              </a:defRPr>
            </a:lvl1pPr>
            <a:lvl2pPr>
              <a:defRPr sz="900" b="0" i="0" kern="0" cap="all" spc="100">
                <a:latin typeface="Avenir Black"/>
              </a:defRPr>
            </a:lvl2pPr>
            <a:lvl3pPr>
              <a:defRPr sz="900" b="0" i="0" kern="0" cap="all" spc="100">
                <a:latin typeface="Avenir Black"/>
              </a:defRPr>
            </a:lvl3pPr>
            <a:lvl4pPr>
              <a:defRPr sz="900" b="0" i="0" kern="0" cap="all" spc="100">
                <a:latin typeface="Avenir Black"/>
              </a:defRPr>
            </a:lvl4pPr>
            <a:lvl5pPr>
              <a:defRPr sz="900" b="0" i="0" kern="0" cap="all" spc="100">
                <a:latin typeface="Avenir Black"/>
              </a:defRPr>
            </a:lvl5pPr>
          </a:lstStyle>
          <a:p>
            <a:pPr lvl="0"/>
            <a:r>
              <a:rPr lang="en-GB"/>
              <a:t>CliCK to ADD SUBHEAD IF NEEDED</a:t>
            </a:r>
            <a:endParaRPr lang="en-GB" dirty="0"/>
          </a:p>
        </p:txBody>
      </p:sp>
      <p:sp>
        <p:nvSpPr>
          <p:cNvPr id="4" name="Rectangle 3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7583313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467743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104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69862"/>
            <a:ext cx="8380413" cy="4000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569912"/>
            <a:ext cx="8380413" cy="7611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7" name="Rectangle 6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77054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66611833"/>
              </p:ext>
            </p:extLst>
          </p:nvPr>
        </p:nvGraphicFramePr>
        <p:xfrm>
          <a:off x="1587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0028" name="think-cell Slide" r:id="rId20" imgW="360" imgH="360" progId="TCLayout.ActiveDocument.1">
                  <p:embed/>
                </p:oleObj>
              </mc:Choice>
              <mc:Fallback>
                <p:oleObj name="think-cell Slide" r:id="rId20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384175" y="1203326"/>
            <a:ext cx="8377238" cy="3394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918036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  <p:sldLayoutId id="2147483787" r:id="rId12"/>
    <p:sldLayoutId id="2147483788" r:id="rId13"/>
    <p:sldLayoutId id="2147483789" r:id="rId14"/>
    <p:sldLayoutId id="2147483790" r:id="rId15"/>
    <p:sldLayoutId id="2147483791" r:id="rId16"/>
  </p:sldLayoutIdLst>
  <p:hf sldNum="0" hdr="0" dt="0"/>
  <p:txStyles>
    <p:titleStyle>
      <a:lvl1pPr algn="l" defTabSz="914306" rtl="0" eaLnBrk="1" latinLnBrk="0" hangingPunct="1">
        <a:spcBef>
          <a:spcPct val="0"/>
        </a:spcBef>
        <a:buNone/>
        <a:defRPr sz="2400" kern="1200">
          <a:solidFill>
            <a:schemeClr val="accent1"/>
          </a:solidFill>
          <a:latin typeface="Avenir LT Std 45 Book" pitchFamily="34" charset="0"/>
          <a:ea typeface="+mj-ea"/>
          <a:cs typeface="+mj-cs"/>
        </a:defRPr>
      </a:lvl1pPr>
    </p:titleStyle>
    <p:bodyStyle>
      <a:lvl1pPr marL="0" indent="0" algn="l" defTabSz="914306" rtl="0" eaLnBrk="1" latinLnBrk="0" hangingPunct="1">
        <a:spcBef>
          <a:spcPct val="20000"/>
        </a:spcBef>
        <a:buFont typeface="Arial" pitchFamily="34" charset="0"/>
        <a:buNone/>
        <a:defRPr sz="1600" b="1" kern="1200">
          <a:solidFill>
            <a:schemeClr val="accent1"/>
          </a:solidFill>
          <a:latin typeface="Avenir LT Std 45 Book" pitchFamily="34" charset="0"/>
          <a:ea typeface="+mn-ea"/>
          <a:cs typeface="+mn-cs"/>
        </a:defRPr>
      </a:lvl1pPr>
      <a:lvl2pPr marL="179982" indent="-179982" algn="l" defTabSz="914306" rtl="0" eaLnBrk="1" latinLnBrk="0" hangingPunct="1">
        <a:spcBef>
          <a:spcPts val="6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venir LT Std 35 Light" pitchFamily="34" charset="0"/>
          <a:ea typeface="+mn-ea"/>
          <a:cs typeface="+mn-cs"/>
        </a:defRPr>
      </a:lvl2pPr>
      <a:lvl3pPr marL="359963" indent="-179982" algn="l" defTabSz="914306" rtl="0" eaLnBrk="1" latinLnBrk="0" hangingPunct="1">
        <a:spcBef>
          <a:spcPts val="600"/>
        </a:spcBef>
        <a:buFont typeface="Arial" pitchFamily="34" charset="0"/>
        <a:buChar char="–"/>
        <a:defRPr sz="1600" kern="1200">
          <a:solidFill>
            <a:schemeClr val="tx1"/>
          </a:solidFill>
          <a:latin typeface="Avenir LT Std 35 Light" pitchFamily="34" charset="0"/>
          <a:ea typeface="+mn-ea"/>
          <a:cs typeface="+mn-cs"/>
        </a:defRPr>
      </a:lvl3pPr>
      <a:lvl4pPr marL="539945" indent="-179982" algn="l" defTabSz="914306" rtl="0" eaLnBrk="1" latinLnBrk="0" hangingPunct="1">
        <a:spcBef>
          <a:spcPts val="600"/>
        </a:spcBef>
        <a:buFont typeface="Arial" pitchFamily="34" charset="0"/>
        <a:buChar char="•"/>
        <a:defRPr sz="1600" kern="1200">
          <a:solidFill>
            <a:schemeClr val="tx1"/>
          </a:solidFill>
          <a:latin typeface="Avenir LT Std 35 Light" pitchFamily="34" charset="0"/>
          <a:ea typeface="+mn-ea"/>
          <a:cs typeface="+mn-cs"/>
        </a:defRPr>
      </a:lvl4pPr>
      <a:lvl5pPr marL="719926" indent="-179982" algn="l" defTabSz="914306" rtl="0" eaLnBrk="1" latinLnBrk="0" hangingPunct="1">
        <a:spcBef>
          <a:spcPts val="600"/>
        </a:spcBef>
        <a:buFont typeface="Wingdings" pitchFamily="2" charset="2"/>
        <a:buChar char="Ø"/>
        <a:defRPr sz="1600" kern="1200">
          <a:solidFill>
            <a:schemeClr val="tx1"/>
          </a:solidFill>
          <a:latin typeface="Avenir LT Std 35 Light" pitchFamily="34" charset="0"/>
          <a:ea typeface="+mn-ea"/>
          <a:cs typeface="+mn-cs"/>
        </a:defRPr>
      </a:lvl5pPr>
      <a:lvl6pPr marL="2514343" indent="-228577" algn="l" defTabSz="9143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95" indent="-228577" algn="l" defTabSz="9143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49" indent="-228577" algn="l" defTabSz="9143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02" indent="-228577" algn="l" defTabSz="9143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6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0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2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66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19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72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26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8.em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8.emf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3.xml"/><Relationship Id="rId7" Type="http://schemas.openxmlformats.org/officeDocument/2006/relationships/image" Target="../media/image8.emf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5.xml"/><Relationship Id="rId7" Type="http://schemas.openxmlformats.org/officeDocument/2006/relationships/image" Target="../media/image8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2989" y="3131267"/>
            <a:ext cx="6477000" cy="429050"/>
          </a:xfrm>
        </p:spPr>
        <p:txBody>
          <a:bodyPr>
            <a:normAutofit lnSpcReduction="10000"/>
          </a:bodyPr>
          <a:lstStyle/>
          <a:p>
            <a:r>
              <a:rPr lang="en-US" dirty="0">
                <a:latin typeface="+mn-lt"/>
              </a:rPr>
              <a:t>OCTOBER 2017</a:t>
            </a:r>
          </a:p>
          <a:p>
            <a:endParaRPr lang="en-US" dirty="0">
              <a:latin typeface="+mn-lt"/>
            </a:endParaRPr>
          </a:p>
          <a:p>
            <a:r>
              <a:rPr lang="en-US" dirty="0">
                <a:latin typeface="+mn-lt"/>
              </a:rPr>
              <a:t>PLATFORM  ANALYTIC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83464" y="774700"/>
            <a:ext cx="8799576" cy="1377950"/>
          </a:xfrm>
        </p:spPr>
        <p:txBody>
          <a:bodyPr/>
          <a:lstStyle/>
          <a:p>
            <a:r>
              <a:rPr lang="en-IN" sz="3800" b="1" dirty="0">
                <a:latin typeface="+mj-lt"/>
              </a:rPr>
              <a:t>          ATHLETA DIRECT MAIL MODEL</a:t>
            </a:r>
            <a:endParaRPr lang="en-US" sz="38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585262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0503" y="20779"/>
            <a:ext cx="9112499" cy="386726"/>
          </a:xfrm>
          <a:solidFill>
            <a:schemeClr val="accent1">
              <a:lumMod val="50000"/>
            </a:schemeClr>
          </a:solidFill>
        </p:spPr>
        <p:txBody>
          <a:bodyPr lIns="0" tIns="0" rIns="0" bIns="45716"/>
          <a:lstStyle/>
          <a:p>
            <a:r>
              <a:rPr lang="en-US" sz="2200" dirty="0">
                <a:solidFill>
                  <a:schemeClr val="bg1"/>
                </a:solidFill>
                <a:latin typeface="+mn-lt"/>
              </a:rPr>
              <a:t>Model outputs on 2017 campaign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7066538"/>
              </p:ext>
            </p:extLst>
          </p:nvPr>
        </p:nvGraphicFramePr>
        <p:xfrm>
          <a:off x="378132" y="517309"/>
          <a:ext cx="8377239" cy="176532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59466">
                  <a:extLst>
                    <a:ext uri="{9D8B030D-6E8A-4147-A177-3AD203B41FA5}">
                      <a16:colId xmlns:a16="http://schemas.microsoft.com/office/drawing/2014/main" val="1476612627"/>
                    </a:ext>
                  </a:extLst>
                </a:gridCol>
                <a:gridCol w="1049826">
                  <a:extLst>
                    <a:ext uri="{9D8B030D-6E8A-4147-A177-3AD203B41FA5}">
                      <a16:colId xmlns:a16="http://schemas.microsoft.com/office/drawing/2014/main" val="3234728941"/>
                    </a:ext>
                  </a:extLst>
                </a:gridCol>
                <a:gridCol w="1145994">
                  <a:extLst>
                    <a:ext uri="{9D8B030D-6E8A-4147-A177-3AD203B41FA5}">
                      <a16:colId xmlns:a16="http://schemas.microsoft.com/office/drawing/2014/main" val="2704413437"/>
                    </a:ext>
                  </a:extLst>
                </a:gridCol>
                <a:gridCol w="1338328">
                  <a:extLst>
                    <a:ext uri="{9D8B030D-6E8A-4147-A177-3AD203B41FA5}">
                      <a16:colId xmlns:a16="http://schemas.microsoft.com/office/drawing/2014/main" val="1463953835"/>
                    </a:ext>
                  </a:extLst>
                </a:gridCol>
                <a:gridCol w="1017770">
                  <a:extLst>
                    <a:ext uri="{9D8B030D-6E8A-4147-A177-3AD203B41FA5}">
                      <a16:colId xmlns:a16="http://schemas.microsoft.com/office/drawing/2014/main" val="1875450370"/>
                    </a:ext>
                  </a:extLst>
                </a:gridCol>
                <a:gridCol w="1303601">
                  <a:extLst>
                    <a:ext uri="{9D8B030D-6E8A-4147-A177-3AD203B41FA5}">
                      <a16:colId xmlns:a16="http://schemas.microsoft.com/office/drawing/2014/main" val="294972902"/>
                    </a:ext>
                  </a:extLst>
                </a:gridCol>
                <a:gridCol w="1549362">
                  <a:extLst>
                    <a:ext uri="{9D8B030D-6E8A-4147-A177-3AD203B41FA5}">
                      <a16:colId xmlns:a16="http://schemas.microsoft.com/office/drawing/2014/main" val="2123853373"/>
                    </a:ext>
                  </a:extLst>
                </a:gridCol>
                <a:gridCol w="512892">
                  <a:extLst>
                    <a:ext uri="{9D8B030D-6E8A-4147-A177-3AD203B41FA5}">
                      <a16:colId xmlns:a16="http://schemas.microsoft.com/office/drawing/2014/main" val="1762931895"/>
                    </a:ext>
                  </a:extLst>
                </a:gridCol>
              </a:tblGrid>
              <a:tr h="160484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Decile</a:t>
                      </a:r>
                      <a:endParaRPr lang="en-US" sz="800" b="1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Num of Customers</a:t>
                      </a:r>
                      <a:endParaRPr lang="en-US" sz="800" b="1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Num of Responders</a:t>
                      </a:r>
                      <a:endParaRPr lang="en-US" sz="800" b="1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Cumulative Responders</a:t>
                      </a:r>
                      <a:endParaRPr lang="en-US" sz="800" b="1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Response rate</a:t>
                      </a:r>
                      <a:endParaRPr lang="en-US" sz="800" b="1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% Response captured</a:t>
                      </a:r>
                      <a:endParaRPr lang="en-US" sz="800" b="1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Cumulative response rate</a:t>
                      </a:r>
                      <a:endParaRPr lang="en-US" sz="800" b="1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Lift</a:t>
                      </a:r>
                      <a:endParaRPr lang="en-US" sz="800" b="1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extLst>
                  <a:ext uri="{0D108BD9-81ED-4DB2-BD59-A6C34878D82A}">
                    <a16:rowId xmlns:a16="http://schemas.microsoft.com/office/drawing/2014/main" val="976904414"/>
                  </a:ext>
                </a:extLst>
              </a:tr>
              <a:tr h="160484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1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7721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3748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accent1"/>
                          </a:solidFill>
                          <a:effectLst/>
                        </a:rPr>
                        <a:t>3748</a:t>
                      </a:r>
                      <a:endParaRPr lang="en-US" sz="9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24" marR="8024" marT="80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accent1"/>
                          </a:solidFill>
                          <a:effectLst/>
                        </a:rPr>
                        <a:t>0.485429349</a:t>
                      </a:r>
                      <a:endParaRPr lang="en-US" sz="9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24" marR="8024" marT="80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0.223481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accent1"/>
                          </a:solidFill>
                          <a:effectLst/>
                        </a:rPr>
                        <a:t>0.485429349</a:t>
                      </a:r>
                      <a:endParaRPr lang="en-US" sz="9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24" marR="8024" marT="80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accent1"/>
                          </a:solidFill>
                          <a:effectLst/>
                        </a:rPr>
                        <a:t>2.2351</a:t>
                      </a:r>
                      <a:endParaRPr lang="en-US" sz="9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24" marR="8024" marT="8024" marB="0" anchor="b"/>
                </a:tc>
                <a:extLst>
                  <a:ext uri="{0D108BD9-81ED-4DB2-BD59-A6C34878D82A}">
                    <a16:rowId xmlns:a16="http://schemas.microsoft.com/office/drawing/2014/main" val="1428120813"/>
                  </a:ext>
                </a:extLst>
              </a:tr>
              <a:tr h="160484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2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7722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2827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accent1"/>
                          </a:solidFill>
                          <a:effectLst/>
                        </a:rPr>
                        <a:t>6575</a:t>
                      </a:r>
                      <a:endParaRPr lang="en-US" sz="9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24" marR="8024" marT="80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accent1"/>
                          </a:solidFill>
                          <a:effectLst/>
                        </a:rPr>
                        <a:t>0.366096866</a:t>
                      </a:r>
                      <a:endParaRPr lang="en-US" sz="9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24" marR="8024" marT="8024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0.3920458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accent1"/>
                          </a:solidFill>
                          <a:effectLst/>
                        </a:rPr>
                        <a:t>0.425731676</a:t>
                      </a:r>
                      <a:endParaRPr lang="en-US" sz="9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24" marR="8024" marT="80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accent1"/>
                          </a:solidFill>
                          <a:effectLst/>
                        </a:rPr>
                        <a:t>1.960229</a:t>
                      </a:r>
                      <a:endParaRPr lang="en-US" sz="9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24" marR="8024" marT="8024" marB="0" anchor="b"/>
                </a:tc>
                <a:extLst>
                  <a:ext uri="{0D108BD9-81ED-4DB2-BD59-A6C34878D82A}">
                    <a16:rowId xmlns:a16="http://schemas.microsoft.com/office/drawing/2014/main" val="3294197961"/>
                  </a:ext>
                </a:extLst>
              </a:tr>
              <a:tr h="160484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3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7722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2289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accent1"/>
                          </a:solidFill>
                          <a:effectLst/>
                        </a:rPr>
                        <a:t>8864</a:t>
                      </a:r>
                      <a:endParaRPr lang="en-US" sz="9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24" marR="8024" marT="80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accent1"/>
                          </a:solidFill>
                          <a:effectLst/>
                        </a:rPr>
                        <a:t>0.296425796</a:t>
                      </a:r>
                      <a:endParaRPr lang="en-US" sz="9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24" marR="8024" marT="8024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0.5285314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accent1"/>
                          </a:solidFill>
                          <a:effectLst/>
                        </a:rPr>
                        <a:t>0.382629716</a:t>
                      </a:r>
                      <a:endParaRPr lang="en-US" sz="9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24" marR="8024" marT="80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accent1"/>
                          </a:solidFill>
                          <a:effectLst/>
                        </a:rPr>
                        <a:t>1.761771</a:t>
                      </a:r>
                      <a:endParaRPr lang="en-US" sz="9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24" marR="8024" marT="8024" marB="0" anchor="b"/>
                </a:tc>
                <a:extLst>
                  <a:ext uri="{0D108BD9-81ED-4DB2-BD59-A6C34878D82A}">
                    <a16:rowId xmlns:a16="http://schemas.microsoft.com/office/drawing/2014/main" val="774103232"/>
                  </a:ext>
                </a:extLst>
              </a:tr>
              <a:tr h="160484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4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7722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1905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accent1"/>
                          </a:solidFill>
                          <a:effectLst/>
                        </a:rPr>
                        <a:t>10769</a:t>
                      </a:r>
                      <a:endParaRPr lang="en-US" sz="9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24" marR="8024" marT="80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accent1"/>
                          </a:solidFill>
                          <a:effectLst/>
                        </a:rPr>
                        <a:t>0.246697747</a:t>
                      </a:r>
                      <a:endParaRPr lang="en-US" sz="9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24" marR="8024" marT="8024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0.6421203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accent1"/>
                          </a:solidFill>
                          <a:effectLst/>
                        </a:rPr>
                        <a:t>0.348646724</a:t>
                      </a:r>
                      <a:endParaRPr lang="en-US" sz="9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24" marR="8024" marT="80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accent1"/>
                          </a:solidFill>
                          <a:effectLst/>
                        </a:rPr>
                        <a:t>1.605301</a:t>
                      </a:r>
                      <a:endParaRPr lang="en-US" sz="9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24" marR="8024" marT="8024" marB="0" anchor="b"/>
                </a:tc>
                <a:extLst>
                  <a:ext uri="{0D108BD9-81ED-4DB2-BD59-A6C34878D82A}">
                    <a16:rowId xmlns:a16="http://schemas.microsoft.com/office/drawing/2014/main" val="1700064483"/>
                  </a:ext>
                </a:extLst>
              </a:tr>
              <a:tr h="160484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5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7722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1670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accent1"/>
                          </a:solidFill>
                          <a:effectLst/>
                        </a:rPr>
                        <a:t>12439</a:t>
                      </a:r>
                      <a:endParaRPr lang="en-US" sz="9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24" marR="8024" marT="80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accent1"/>
                          </a:solidFill>
                          <a:effectLst/>
                        </a:rPr>
                        <a:t>0.216265216</a:t>
                      </a:r>
                      <a:endParaRPr lang="en-US" sz="9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24" marR="8024" marT="8024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0.741697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accent1"/>
                          </a:solidFill>
                          <a:effectLst/>
                        </a:rPr>
                        <a:t>0.322170422</a:t>
                      </a:r>
                      <a:endParaRPr lang="en-US" sz="9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24" marR="8024" marT="80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accent1"/>
                          </a:solidFill>
                          <a:effectLst/>
                        </a:rPr>
                        <a:t>1.483394</a:t>
                      </a:r>
                      <a:endParaRPr lang="en-US" sz="9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24" marR="8024" marT="8024" marB="0" anchor="b"/>
                </a:tc>
                <a:extLst>
                  <a:ext uri="{0D108BD9-81ED-4DB2-BD59-A6C34878D82A}">
                    <a16:rowId xmlns:a16="http://schemas.microsoft.com/office/drawing/2014/main" val="1225048235"/>
                  </a:ext>
                </a:extLst>
              </a:tr>
              <a:tr h="160484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6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7722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1408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accent1"/>
                          </a:solidFill>
                          <a:effectLst/>
                        </a:rPr>
                        <a:t>13847</a:t>
                      </a:r>
                      <a:endParaRPr lang="en-US" sz="9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24" marR="8024" marT="80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accent1"/>
                          </a:solidFill>
                          <a:effectLst/>
                        </a:rPr>
                        <a:t>0.182336182</a:t>
                      </a:r>
                      <a:endParaRPr lang="en-US" sz="9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24" marR="8024" marT="8024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0.8256514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accent1"/>
                          </a:solidFill>
                          <a:effectLst/>
                        </a:rPr>
                        <a:t>0.298864716</a:t>
                      </a:r>
                      <a:endParaRPr lang="en-US" sz="9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24" marR="8024" marT="80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accent1"/>
                          </a:solidFill>
                          <a:effectLst/>
                        </a:rPr>
                        <a:t>1.376086</a:t>
                      </a:r>
                      <a:endParaRPr lang="en-US" sz="9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24" marR="8024" marT="8024" marB="0" anchor="b"/>
                </a:tc>
                <a:extLst>
                  <a:ext uri="{0D108BD9-81ED-4DB2-BD59-A6C34878D82A}">
                    <a16:rowId xmlns:a16="http://schemas.microsoft.com/office/drawing/2014/main" val="1216156460"/>
                  </a:ext>
                </a:extLst>
              </a:tr>
              <a:tr h="160484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7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7722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1235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accent1"/>
                          </a:solidFill>
                          <a:effectLst/>
                        </a:rPr>
                        <a:t>15082</a:t>
                      </a:r>
                      <a:endParaRPr lang="en-US" sz="9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24" marR="8024" marT="80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accent1"/>
                          </a:solidFill>
                          <a:effectLst/>
                        </a:rPr>
                        <a:t>0.15993266</a:t>
                      </a:r>
                      <a:endParaRPr lang="en-US" sz="9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24" marR="8024" marT="8024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0.8992904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accent1"/>
                          </a:solidFill>
                          <a:effectLst/>
                        </a:rPr>
                        <a:t>0.279017279</a:t>
                      </a:r>
                      <a:endParaRPr lang="en-US" sz="9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24" marR="8024" marT="80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accent1"/>
                          </a:solidFill>
                          <a:effectLst/>
                        </a:rPr>
                        <a:t>1.284701</a:t>
                      </a:r>
                      <a:endParaRPr lang="en-US" sz="9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24" marR="8024" marT="8024" marB="0" anchor="b"/>
                </a:tc>
                <a:extLst>
                  <a:ext uri="{0D108BD9-81ED-4DB2-BD59-A6C34878D82A}">
                    <a16:rowId xmlns:a16="http://schemas.microsoft.com/office/drawing/2014/main" val="3850316788"/>
                  </a:ext>
                </a:extLst>
              </a:tr>
              <a:tr h="160484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8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7722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854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accent1"/>
                          </a:solidFill>
                          <a:effectLst/>
                        </a:rPr>
                        <a:t>15936</a:t>
                      </a:r>
                      <a:endParaRPr lang="en-US" sz="9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24" marR="8024" marT="80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accent1"/>
                          </a:solidFill>
                          <a:effectLst/>
                        </a:rPr>
                        <a:t>0.110593111</a:t>
                      </a:r>
                      <a:endParaRPr lang="en-US" sz="9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24" marR="8024" marT="8024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0.9502117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accent1"/>
                          </a:solidFill>
                          <a:effectLst/>
                        </a:rPr>
                        <a:t>0.257964258</a:t>
                      </a:r>
                      <a:endParaRPr lang="en-US" sz="9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24" marR="8024" marT="80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accent1"/>
                          </a:solidFill>
                          <a:effectLst/>
                        </a:rPr>
                        <a:t>1.187765</a:t>
                      </a:r>
                      <a:endParaRPr lang="en-US" sz="9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24" marR="8024" marT="8024" marB="0" anchor="b"/>
                </a:tc>
                <a:extLst>
                  <a:ext uri="{0D108BD9-81ED-4DB2-BD59-A6C34878D82A}">
                    <a16:rowId xmlns:a16="http://schemas.microsoft.com/office/drawing/2014/main" val="1278891325"/>
                  </a:ext>
                </a:extLst>
              </a:tr>
              <a:tr h="160484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9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7722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535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accent1"/>
                          </a:solidFill>
                          <a:effectLst/>
                        </a:rPr>
                        <a:t>16471</a:t>
                      </a:r>
                      <a:endParaRPr lang="en-US" sz="9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24" marR="8024" marT="80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accent1"/>
                          </a:solidFill>
                          <a:effectLst/>
                        </a:rPr>
                        <a:t>0.069282569</a:t>
                      </a:r>
                      <a:endParaRPr lang="en-US" sz="9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24" marR="8024" marT="8024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0.982112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accent1"/>
                          </a:solidFill>
                          <a:effectLst/>
                        </a:rPr>
                        <a:t>0.236999626</a:t>
                      </a:r>
                      <a:endParaRPr lang="en-US" sz="9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24" marR="8024" marT="80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accent1"/>
                          </a:solidFill>
                          <a:effectLst/>
                        </a:rPr>
                        <a:t>1.091236</a:t>
                      </a:r>
                      <a:endParaRPr lang="en-US" sz="9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24" marR="8024" marT="8024" marB="0" anchor="b"/>
                </a:tc>
                <a:extLst>
                  <a:ext uri="{0D108BD9-81ED-4DB2-BD59-A6C34878D82A}">
                    <a16:rowId xmlns:a16="http://schemas.microsoft.com/office/drawing/2014/main" val="69544773"/>
                  </a:ext>
                </a:extLst>
              </a:tr>
              <a:tr h="160484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10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7722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300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accent1"/>
                          </a:solidFill>
                          <a:effectLst/>
                        </a:rPr>
                        <a:t>16771</a:t>
                      </a:r>
                      <a:endParaRPr lang="en-US" sz="9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24" marR="8024" marT="80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accent1"/>
                          </a:solidFill>
                          <a:effectLst/>
                        </a:rPr>
                        <a:t>0.038850039</a:t>
                      </a:r>
                      <a:endParaRPr lang="en-US" sz="9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24" marR="8024" marT="8024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1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24" marR="8024" marT="8024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accent1"/>
                          </a:solidFill>
                          <a:effectLst/>
                        </a:rPr>
                        <a:t>0.217184667</a:t>
                      </a:r>
                      <a:endParaRPr lang="en-US" sz="9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24" marR="8024" marT="802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1</a:t>
                      </a:r>
                      <a:endParaRPr lang="en-US" sz="9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24" marR="8024" marT="8024" marB="0" anchor="b"/>
                </a:tc>
                <a:extLst>
                  <a:ext uri="{0D108BD9-81ED-4DB2-BD59-A6C34878D82A}">
                    <a16:rowId xmlns:a16="http://schemas.microsoft.com/office/drawing/2014/main" val="2782603554"/>
                  </a:ext>
                </a:extLst>
              </a:tr>
            </a:tbl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8132" y="2392437"/>
            <a:ext cx="8377239" cy="2662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04581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0503" y="20779"/>
            <a:ext cx="9112499" cy="386726"/>
          </a:xfrm>
          <a:solidFill>
            <a:schemeClr val="accent1">
              <a:lumMod val="50000"/>
            </a:schemeClr>
          </a:solidFill>
        </p:spPr>
        <p:txBody>
          <a:bodyPr lIns="0" tIns="0" rIns="0" bIns="45716"/>
          <a:lstStyle/>
          <a:p>
            <a:r>
              <a:rPr lang="en-US" sz="2200" dirty="0">
                <a:solidFill>
                  <a:schemeClr val="bg1"/>
                </a:solidFill>
                <a:latin typeface="+mn-lt"/>
              </a:rPr>
              <a:t> Appendix</a:t>
            </a:r>
          </a:p>
        </p:txBody>
      </p:sp>
      <p:sp>
        <p:nvSpPr>
          <p:cNvPr id="6" name="Rectangle: Rounded Corners 5"/>
          <p:cNvSpPr/>
          <p:nvPr/>
        </p:nvSpPr>
        <p:spPr>
          <a:xfrm>
            <a:off x="5217557" y="1405973"/>
            <a:ext cx="2962347" cy="2724150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chemeClr val="accent1">
                    <a:lumMod val="75000"/>
                  </a:schemeClr>
                </a:solidFill>
              </a:rPr>
              <a:t>XGBoost</a:t>
            </a:r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 is a tree based algorithm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Different trees were trained by tuning different parameters like sample size, eta, no.  of rounds and depth of a tree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Best 50 models out of the 480 trained models were chosen on the basis of Area under ROC curve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734210" name="Picture 2" descr="Image result for decision tree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904" y="1649896"/>
            <a:ext cx="3086882" cy="2375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26828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2400" b="1" dirty="0">
                <a:latin typeface="+mj-lt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3530911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644130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22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5" name="Object 6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192" y="644130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1143000" y="642937"/>
            <a:ext cx="119063" cy="119063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5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4645"/>
            <a:ext cx="9144000" cy="347969"/>
          </a:xfrm>
          <a:solidFill>
            <a:schemeClr val="accent1">
              <a:lumMod val="50000"/>
            </a:schemeClr>
          </a:solidFill>
        </p:spPr>
        <p:txBody>
          <a:bodyPr vert="horz" lIns="0" tIns="0" rIns="0" bIns="34287" rtlCol="0" anchor="ctr">
            <a:normAutofit fontScale="90000"/>
          </a:bodyPr>
          <a:lstStyle/>
          <a:p>
            <a:r>
              <a:rPr lang="en-US" dirty="0">
                <a:solidFill>
                  <a:schemeClr val="bg1"/>
                </a:solidFill>
                <a:latin typeface="+mn-lt"/>
              </a:rPr>
              <a:t> BACKGROUND AND OBJECTIVE</a:t>
            </a:r>
          </a:p>
        </p:txBody>
      </p:sp>
      <p:sp>
        <p:nvSpPr>
          <p:cNvPr id="49" name="Rectangle: Rounded Corners 48"/>
          <p:cNvSpPr/>
          <p:nvPr/>
        </p:nvSpPr>
        <p:spPr>
          <a:xfrm>
            <a:off x="467140" y="1694067"/>
            <a:ext cx="6848060" cy="340519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To identify customers who will respond to a direct mail campaign</a:t>
            </a:r>
          </a:p>
        </p:txBody>
      </p:sp>
      <p:sp>
        <p:nvSpPr>
          <p:cNvPr id="71" name="Rectangle: Single Corner Snipped 70"/>
          <p:cNvSpPr/>
          <p:nvPr/>
        </p:nvSpPr>
        <p:spPr>
          <a:xfrm>
            <a:off x="467140" y="1287843"/>
            <a:ext cx="6848060" cy="334566"/>
          </a:xfrm>
          <a:prstGeom prst="snip1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Business Objectives :</a:t>
            </a:r>
          </a:p>
        </p:txBody>
      </p:sp>
      <p:sp>
        <p:nvSpPr>
          <p:cNvPr id="137" name="Rectangle: Single Corner Snipped 136"/>
          <p:cNvSpPr/>
          <p:nvPr/>
        </p:nvSpPr>
        <p:spPr>
          <a:xfrm>
            <a:off x="467140" y="2967732"/>
            <a:ext cx="6883782" cy="334566"/>
          </a:xfrm>
          <a:prstGeom prst="snip1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Analytical Approach:</a:t>
            </a:r>
          </a:p>
        </p:txBody>
      </p:sp>
      <p:sp>
        <p:nvSpPr>
          <p:cNvPr id="138" name="Rectangle: Rounded Corners 137"/>
          <p:cNvSpPr/>
          <p:nvPr/>
        </p:nvSpPr>
        <p:spPr>
          <a:xfrm>
            <a:off x="467140" y="3376040"/>
            <a:ext cx="6883782" cy="1055608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Trained 480 </a:t>
            </a:r>
            <a:r>
              <a:rPr lang="en-US" sz="1400" dirty="0" err="1">
                <a:solidFill>
                  <a:schemeClr val="accent1">
                    <a:lumMod val="75000"/>
                  </a:schemeClr>
                </a:solidFill>
              </a:rPr>
              <a:t>XGBoost</a:t>
            </a:r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 classification  models using four 2016 direct mail campaigns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These four campaigns had 6.4% response  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Selected best 50 models out of the 480 models based on in time validation results 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Averaged the results of these 50 models  </a:t>
            </a:r>
          </a:p>
        </p:txBody>
      </p:sp>
    </p:spTree>
    <p:extLst>
      <p:ext uri="{BB962C8B-B14F-4D97-AF65-F5344CB8AC3E}">
        <p14:creationId xmlns:p14="http://schemas.microsoft.com/office/powerpoint/2010/main" val="42755987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8475281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10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0503" y="20778"/>
            <a:ext cx="9112499" cy="464147"/>
          </a:xfrm>
          <a:solidFill>
            <a:schemeClr val="accent1">
              <a:lumMod val="50000"/>
            </a:schemeClr>
          </a:solidFill>
        </p:spPr>
        <p:txBody>
          <a:bodyPr lIns="0" tIns="0" rIns="0" bIns="45716"/>
          <a:lstStyle/>
          <a:p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  </a:t>
            </a:r>
            <a:r>
              <a:rPr lang="en-US" sz="2200" dirty="0">
                <a:solidFill>
                  <a:schemeClr val="bg1"/>
                </a:solidFill>
                <a:latin typeface="+mn-lt"/>
              </a:rPr>
              <a:t>Variables used in modeling :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367749" y="806359"/>
            <a:ext cx="4015408" cy="4003767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accent1"/>
                </a:solidFill>
              </a:rPr>
              <a:t>Discount availed on last 6 months of online sales 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accent1"/>
                </a:solidFill>
              </a:rPr>
              <a:t>No of transactions using PLCB card in last 12 months of online sales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accent1"/>
                </a:solidFill>
              </a:rPr>
              <a:t>Net sales using PLCB card in last 12 months of retail sales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accent1"/>
                </a:solidFill>
              </a:rPr>
              <a:t>Net sales using PLCB card in last 6 months of online sales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accent1"/>
                </a:solidFill>
              </a:rPr>
              <a:t>Net sales amount returned in last 12 months of online sales 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accent1"/>
                </a:solidFill>
              </a:rPr>
              <a:t>Net margin in last 12 months of online sales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accent1"/>
                </a:solidFill>
              </a:rPr>
              <a:t>Net margin in last 6 months of retail sales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accent1"/>
                </a:solidFill>
              </a:rPr>
              <a:t>No of transactions returned in last 12 months of retail transactions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accent1"/>
                </a:solidFill>
              </a:rPr>
              <a:t>Discount availed in last 12 months of retail sales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accent1"/>
                </a:solidFill>
              </a:rPr>
              <a:t>No of transactions returned in last 6 months of online transactions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accent1"/>
                </a:solidFill>
              </a:rPr>
              <a:t>Response rate to direct mails sent in last 12 months 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accent1"/>
                </a:solidFill>
              </a:rPr>
              <a:t>Net sales in last 12 months during a promotion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accent1"/>
                </a:solidFill>
              </a:rPr>
              <a:t>No of days since last online purchase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accent1"/>
                </a:solidFill>
              </a:rPr>
              <a:t>No of items bought on sale in last 6 months online 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accent1"/>
                </a:solidFill>
              </a:rPr>
              <a:t>Discount availed during a promotion in last 12 months 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accent1"/>
                </a:solidFill>
              </a:rPr>
              <a:t>No of promotions received in last 12 months 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accent1"/>
                </a:solidFill>
              </a:rPr>
              <a:t>No of items bought on sale in last 12 months of retail purchase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accent1"/>
                </a:solidFill>
              </a:rPr>
              <a:t>No of divisions shopped from in retail sales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4562061" y="774979"/>
            <a:ext cx="4174435" cy="4035147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accent1"/>
                </a:solidFill>
              </a:rPr>
              <a:t>No of items returned in last 6 months of retail sales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accent1"/>
                </a:solidFill>
              </a:rPr>
              <a:t>No of items purchased on sale in last 6 months of retail purchases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accent1"/>
                </a:solidFill>
              </a:rPr>
              <a:t>No of divisions shopped from in online sales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accent1"/>
                </a:solidFill>
              </a:rPr>
              <a:t>No of divisions shopped from 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accent1"/>
                </a:solidFill>
              </a:rPr>
              <a:t>No of days since acquisition 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accent1"/>
                </a:solidFill>
              </a:rPr>
              <a:t>No of transactions returned in last 6 months of online transactions in other brands 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accent1"/>
                </a:solidFill>
              </a:rPr>
              <a:t>Net sales returned in last 12 months of online transactions in other brands 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accent1"/>
                </a:solidFill>
              </a:rPr>
              <a:t>Days since last online purchase in other brands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accent1"/>
                </a:solidFill>
              </a:rPr>
              <a:t>Net sales amount in last 6 months of online transactions using PLCB card in other brands 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accent1"/>
                </a:solidFill>
              </a:rPr>
              <a:t>No of transactions in last 12 months using PLCB card in other brands 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accent1"/>
                </a:solidFill>
              </a:rPr>
              <a:t>Net sales amount  returned in last 12 months of retail transactions in other brands 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accent1"/>
                </a:solidFill>
              </a:rPr>
              <a:t>No of items purchased in last 6 months of online purchases in other brands 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accent1"/>
                </a:solidFill>
              </a:rPr>
              <a:t>No of items returned in last 6 months of retail transactions in other brands  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accent1"/>
                </a:solidFill>
              </a:rPr>
              <a:t>Days since last retail purchase </a:t>
            </a:r>
          </a:p>
        </p:txBody>
      </p:sp>
    </p:spTree>
    <p:extLst>
      <p:ext uri="{BB962C8B-B14F-4D97-AF65-F5344CB8AC3E}">
        <p14:creationId xmlns:p14="http://schemas.microsoft.com/office/powerpoint/2010/main" val="15463726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4" y="152045"/>
            <a:ext cx="8377238" cy="4887093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ECD835A8-A5EF-4B88-A1F8-417EE30A7D4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73554493"/>
              </p:ext>
            </p:extLst>
          </p:nvPr>
        </p:nvGraphicFramePr>
        <p:xfrm>
          <a:off x="1951742" y="-71410"/>
          <a:ext cx="7110414" cy="53340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Rectangle: Rounded Corners 14"/>
          <p:cNvSpPr/>
          <p:nvPr/>
        </p:nvSpPr>
        <p:spPr>
          <a:xfrm>
            <a:off x="99600" y="1765087"/>
            <a:ext cx="1551398" cy="1055608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1400" b="1" dirty="0">
                <a:solidFill>
                  <a:schemeClr val="accent1">
                    <a:lumMod val="75000"/>
                  </a:schemeClr>
                </a:solidFill>
              </a:rPr>
              <a:t>Variable Importance in the model (in %)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90466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14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5" name="Object 6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64" y="20778"/>
            <a:ext cx="9143436" cy="376787"/>
          </a:xfrm>
          <a:solidFill>
            <a:schemeClr val="accent1">
              <a:lumMod val="50000"/>
            </a:schemeClr>
          </a:solidFill>
        </p:spPr>
        <p:txBody>
          <a:bodyPr lIns="0" tIns="0" rIns="0" bIns="45716"/>
          <a:lstStyle/>
          <a:p>
            <a:r>
              <a:rPr lang="en-US" sz="2200" dirty="0">
                <a:solidFill>
                  <a:schemeClr val="bg1"/>
                </a:solidFill>
                <a:latin typeface="+mn-lt"/>
              </a:rPr>
              <a:t> Model outputs on 2016 campaign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916450"/>
            <a:ext cx="4039050" cy="385433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283766" y="1115233"/>
            <a:ext cx="4761018" cy="3655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81680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0503" y="20779"/>
            <a:ext cx="9112499" cy="386726"/>
          </a:xfrm>
          <a:solidFill>
            <a:schemeClr val="accent1">
              <a:lumMod val="50000"/>
            </a:schemeClr>
          </a:solidFill>
        </p:spPr>
        <p:txBody>
          <a:bodyPr lIns="0" tIns="0" rIns="0" bIns="45716"/>
          <a:lstStyle/>
          <a:p>
            <a:r>
              <a:rPr lang="en-US" sz="2200" dirty="0">
                <a:solidFill>
                  <a:schemeClr val="bg1"/>
                </a:solidFill>
                <a:latin typeface="+mn-lt"/>
              </a:rPr>
              <a:t>Model outputs on 2016 campaigns</a:t>
            </a:r>
          </a:p>
        </p:txBody>
      </p:sp>
      <p:sp>
        <p:nvSpPr>
          <p:cNvPr id="6" name="Rectangle: Rounded Corners 5"/>
          <p:cNvSpPr/>
          <p:nvPr/>
        </p:nvSpPr>
        <p:spPr>
          <a:xfrm>
            <a:off x="5823844" y="957598"/>
            <a:ext cx="2962347" cy="3379113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Customers were put in percentiles according to the decreasing order of probability given by the model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Response rate in the upper percentiles was better than the lower percentiles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The initial percentiles have 8 times more response than base response of 6.4%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The initial 50 percentile of customers consist of about 87-88% of responders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03" y="882355"/>
            <a:ext cx="5141127" cy="3172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88516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5" y="76414"/>
            <a:ext cx="8377238" cy="384941"/>
          </a:xfrm>
        </p:spPr>
        <p:txBody>
          <a:bodyPr/>
          <a:lstStyle/>
          <a:p>
            <a:r>
              <a:rPr lang="en-US" dirty="0"/>
              <a:t>At Decile Level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9360677"/>
              </p:ext>
            </p:extLst>
          </p:nvPr>
        </p:nvGraphicFramePr>
        <p:xfrm>
          <a:off x="378134" y="555228"/>
          <a:ext cx="8377236" cy="18816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30706">
                  <a:extLst>
                    <a:ext uri="{9D8B030D-6E8A-4147-A177-3AD203B41FA5}">
                      <a16:colId xmlns:a16="http://schemas.microsoft.com/office/drawing/2014/main" val="3339322713"/>
                    </a:ext>
                  </a:extLst>
                </a:gridCol>
                <a:gridCol w="1033695">
                  <a:extLst>
                    <a:ext uri="{9D8B030D-6E8A-4147-A177-3AD203B41FA5}">
                      <a16:colId xmlns:a16="http://schemas.microsoft.com/office/drawing/2014/main" val="2527055164"/>
                    </a:ext>
                  </a:extLst>
                </a:gridCol>
                <a:gridCol w="1087533">
                  <a:extLst>
                    <a:ext uri="{9D8B030D-6E8A-4147-A177-3AD203B41FA5}">
                      <a16:colId xmlns:a16="http://schemas.microsoft.com/office/drawing/2014/main" val="3198058092"/>
                    </a:ext>
                  </a:extLst>
                </a:gridCol>
                <a:gridCol w="1345957">
                  <a:extLst>
                    <a:ext uri="{9D8B030D-6E8A-4147-A177-3AD203B41FA5}">
                      <a16:colId xmlns:a16="http://schemas.microsoft.com/office/drawing/2014/main" val="2027855589"/>
                    </a:ext>
                  </a:extLst>
                </a:gridCol>
                <a:gridCol w="829110">
                  <a:extLst>
                    <a:ext uri="{9D8B030D-6E8A-4147-A177-3AD203B41FA5}">
                      <a16:colId xmlns:a16="http://schemas.microsoft.com/office/drawing/2014/main" val="596228623"/>
                    </a:ext>
                  </a:extLst>
                </a:gridCol>
                <a:gridCol w="1087533">
                  <a:extLst>
                    <a:ext uri="{9D8B030D-6E8A-4147-A177-3AD203B41FA5}">
                      <a16:colId xmlns:a16="http://schemas.microsoft.com/office/drawing/2014/main" val="976977848"/>
                    </a:ext>
                  </a:extLst>
                </a:gridCol>
                <a:gridCol w="1529007">
                  <a:extLst>
                    <a:ext uri="{9D8B030D-6E8A-4147-A177-3AD203B41FA5}">
                      <a16:colId xmlns:a16="http://schemas.microsoft.com/office/drawing/2014/main" val="2020565781"/>
                    </a:ext>
                  </a:extLst>
                </a:gridCol>
                <a:gridCol w="1033695">
                  <a:extLst>
                    <a:ext uri="{9D8B030D-6E8A-4147-A177-3AD203B41FA5}">
                      <a16:colId xmlns:a16="http://schemas.microsoft.com/office/drawing/2014/main" val="3000652455"/>
                    </a:ext>
                  </a:extLst>
                </a:gridCol>
              </a:tblGrid>
              <a:tr h="266500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Decile</a:t>
                      </a:r>
                      <a:endParaRPr lang="en-US" sz="800" b="1" i="0" u="none" strike="noStrike" dirty="0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Num of Customers</a:t>
                      </a:r>
                      <a:endParaRPr lang="en-US" sz="800" b="1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Num of Responders</a:t>
                      </a:r>
                      <a:endParaRPr lang="en-US" sz="800" b="1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Cumulative Responders</a:t>
                      </a:r>
                      <a:endParaRPr lang="en-US" sz="800" b="1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Response rate</a:t>
                      </a:r>
                      <a:endParaRPr lang="en-US" sz="800" b="1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% Response captured</a:t>
                      </a:r>
                      <a:endParaRPr lang="en-US" sz="800" b="1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Cumulative response rate</a:t>
                      </a:r>
                      <a:endParaRPr lang="en-US" sz="800" b="1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Lift</a:t>
                      </a:r>
                      <a:endParaRPr lang="en-US" sz="800" b="1" i="0" u="none" strike="noStrike" dirty="0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extLst>
                  <a:ext uri="{0D108BD9-81ED-4DB2-BD59-A6C34878D82A}">
                    <a16:rowId xmlns:a16="http://schemas.microsoft.com/office/drawing/2014/main" val="3156607448"/>
                  </a:ext>
                </a:extLst>
              </a:tr>
              <a:tr h="161515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1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41103</a:t>
                      </a:r>
                      <a:endParaRPr lang="en-US" sz="800" b="0" i="0" u="none" strike="noStrike" dirty="0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11611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11611</a:t>
                      </a:r>
                      <a:endParaRPr lang="en-US" sz="800" b="0" i="0" u="none" strike="noStrike" dirty="0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28.25%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43.86%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28.25%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accent1"/>
                          </a:solidFill>
                          <a:effectLst/>
                        </a:rPr>
                        <a:t>4.386581974</a:t>
                      </a:r>
                      <a:endParaRPr lang="en-US" sz="900" b="0" i="0" u="none" strike="noStrike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76" marR="8076" marT="8076" marB="0" anchor="b"/>
                </a:tc>
                <a:extLst>
                  <a:ext uri="{0D108BD9-81ED-4DB2-BD59-A6C34878D82A}">
                    <a16:rowId xmlns:a16="http://schemas.microsoft.com/office/drawing/2014/main" val="4220926005"/>
                  </a:ext>
                </a:extLst>
              </a:tr>
              <a:tr h="161515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2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41103</a:t>
                      </a:r>
                      <a:endParaRPr lang="en-US" sz="800" b="0" i="0" u="none" strike="noStrike" dirty="0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4880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16491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11.87%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62.30%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20.06%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3.115111676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extLst>
                  <a:ext uri="{0D108BD9-81ED-4DB2-BD59-A6C34878D82A}">
                    <a16:rowId xmlns:a16="http://schemas.microsoft.com/office/drawing/2014/main" val="310999974"/>
                  </a:ext>
                </a:extLst>
              </a:tr>
              <a:tr h="161515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3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41103</a:t>
                      </a:r>
                      <a:endParaRPr lang="en-US" sz="800" b="0" i="0" u="none" strike="noStrike" dirty="0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3130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19621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7.62%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74.13%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15.91%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2.470907614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extLst>
                  <a:ext uri="{0D108BD9-81ED-4DB2-BD59-A6C34878D82A}">
                    <a16:rowId xmlns:a16="http://schemas.microsoft.com/office/drawing/2014/main" val="597818731"/>
                  </a:ext>
                </a:extLst>
              </a:tr>
              <a:tr h="161515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4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41104</a:t>
                      </a:r>
                      <a:endParaRPr lang="en-US" sz="800" b="0" i="0" u="none" strike="noStrike" dirty="0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2097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21718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5.10%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82.05%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13.21%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2.051190026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extLst>
                  <a:ext uri="{0D108BD9-81ED-4DB2-BD59-A6C34878D82A}">
                    <a16:rowId xmlns:a16="http://schemas.microsoft.com/office/drawing/2014/main" val="2137320457"/>
                  </a:ext>
                </a:extLst>
              </a:tr>
              <a:tr h="161515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5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41103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1520</a:t>
                      </a:r>
                      <a:endParaRPr lang="en-US" sz="800" b="0" i="0" u="none" strike="noStrike" dirty="0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23238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3.70%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87.79%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11.31%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1.755841735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extLst>
                  <a:ext uri="{0D108BD9-81ED-4DB2-BD59-A6C34878D82A}">
                    <a16:rowId xmlns:a16="http://schemas.microsoft.com/office/drawing/2014/main" val="4153916296"/>
                  </a:ext>
                </a:extLst>
              </a:tr>
              <a:tr h="161515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6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41103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1022</a:t>
                      </a:r>
                      <a:endParaRPr lang="en-US" sz="800" b="0" i="0" u="none" strike="noStrike" dirty="0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24260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2.49%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91.65%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9.84%</a:t>
                      </a:r>
                      <a:endParaRPr lang="en-US" sz="800" b="0" i="0" u="none" strike="noStrike" dirty="0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1.527552589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extLst>
                  <a:ext uri="{0D108BD9-81ED-4DB2-BD59-A6C34878D82A}">
                    <a16:rowId xmlns:a16="http://schemas.microsoft.com/office/drawing/2014/main" val="1739639087"/>
                  </a:ext>
                </a:extLst>
              </a:tr>
              <a:tr h="161515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7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41104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812</a:t>
                      </a:r>
                      <a:endParaRPr lang="en-US" sz="800" b="0" i="0" u="none" strike="noStrike" dirty="0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25072</a:t>
                      </a:r>
                      <a:endParaRPr lang="en-US" sz="800" b="0" i="0" u="none" strike="noStrike" dirty="0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1.98%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94.72%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8.71%</a:t>
                      </a:r>
                      <a:endParaRPr lang="en-US" sz="800" b="0" i="0" u="none" strike="noStrike" dirty="0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1.353122133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extLst>
                  <a:ext uri="{0D108BD9-81ED-4DB2-BD59-A6C34878D82A}">
                    <a16:rowId xmlns:a16="http://schemas.microsoft.com/office/drawing/2014/main" val="2926613228"/>
                  </a:ext>
                </a:extLst>
              </a:tr>
              <a:tr h="161515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8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41103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603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25675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1.47%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97.00%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7.81%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1.212486997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extLst>
                  <a:ext uri="{0D108BD9-81ED-4DB2-BD59-A6C34878D82A}">
                    <a16:rowId xmlns:a16="http://schemas.microsoft.com/office/drawing/2014/main" val="2620054785"/>
                  </a:ext>
                </a:extLst>
              </a:tr>
              <a:tr h="161515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9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41103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450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26125</a:t>
                      </a:r>
                      <a:endParaRPr lang="en-US" sz="800" b="0" i="0" u="none" strike="noStrike" dirty="0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1.09%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98.70%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7.06%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1.096655988</a:t>
                      </a:r>
                      <a:endParaRPr lang="en-US" sz="800" b="0" i="0" u="none" strike="noStrike" dirty="0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extLst>
                  <a:ext uri="{0D108BD9-81ED-4DB2-BD59-A6C34878D82A}">
                    <a16:rowId xmlns:a16="http://schemas.microsoft.com/office/drawing/2014/main" val="1501787917"/>
                  </a:ext>
                </a:extLst>
              </a:tr>
              <a:tr h="161515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10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41104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solidFill>
                            <a:schemeClr val="accent1"/>
                          </a:solidFill>
                          <a:effectLst/>
                        </a:rPr>
                        <a:t>345</a:t>
                      </a:r>
                      <a:endParaRPr lang="en-US" sz="800" b="0" i="0" u="none" strike="noStrike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26470</a:t>
                      </a:r>
                      <a:endParaRPr lang="en-US" sz="800" b="0" i="0" u="none" strike="noStrike" dirty="0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0.84%</a:t>
                      </a:r>
                      <a:endParaRPr lang="en-US" sz="800" b="0" i="0" u="none" strike="noStrike" dirty="0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100.00%</a:t>
                      </a:r>
                      <a:endParaRPr lang="en-US" sz="800" b="0" i="0" u="none" strike="noStrike" dirty="0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6.44%</a:t>
                      </a:r>
                      <a:endParaRPr lang="en-US" sz="800" b="0" i="0" u="none" strike="noStrike" dirty="0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1</a:t>
                      </a:r>
                      <a:endParaRPr lang="en-US" sz="800" b="0" i="0" u="none" strike="noStrike" dirty="0">
                        <a:solidFill>
                          <a:schemeClr val="accent1"/>
                        </a:solidFill>
                        <a:effectLst/>
                        <a:latin typeface="Lucida Sans" panose="020B0602030504020204" pitchFamily="34" charset="0"/>
                      </a:endParaRPr>
                    </a:p>
                  </a:txBody>
                  <a:tcPr marL="8076" marR="8076" marT="8076" marB="0" anchor="ctr"/>
                </a:tc>
                <a:extLst>
                  <a:ext uri="{0D108BD9-81ED-4DB2-BD59-A6C34878D82A}">
                    <a16:rowId xmlns:a16="http://schemas.microsoft.com/office/drawing/2014/main" val="3954965002"/>
                  </a:ext>
                </a:extLst>
              </a:tr>
            </a:tbl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0503" y="20779"/>
            <a:ext cx="9112499" cy="38672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lIns="0" tIns="0" rIns="0" bIns="45716"/>
          <a:lstStyle>
            <a:lvl1pPr algn="l" defTabSz="914306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accent1"/>
                </a:solidFill>
                <a:latin typeface="Avenir LT Std 45 Book" pitchFamily="34" charset="0"/>
                <a:ea typeface="+mj-ea"/>
                <a:cs typeface="+mj-cs"/>
              </a:defRPr>
            </a:lvl1pPr>
          </a:lstStyle>
          <a:p>
            <a:r>
              <a:rPr lang="en-US" sz="2200" dirty="0">
                <a:solidFill>
                  <a:schemeClr val="bg1"/>
                </a:solidFill>
                <a:latin typeface="+mn-lt"/>
              </a:rPr>
              <a:t>Model outputs on 2016 campaigns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8134" y="2541024"/>
            <a:ext cx="8377236" cy="2612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72841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21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5" name="Object 6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64" y="20778"/>
            <a:ext cx="9143436" cy="376787"/>
          </a:xfrm>
          <a:solidFill>
            <a:schemeClr val="accent1">
              <a:lumMod val="50000"/>
            </a:schemeClr>
          </a:solidFill>
        </p:spPr>
        <p:txBody>
          <a:bodyPr lIns="0" tIns="0" rIns="0" bIns="45716"/>
          <a:lstStyle/>
          <a:p>
            <a:r>
              <a:rPr lang="en-US" sz="2200" dirty="0">
                <a:solidFill>
                  <a:schemeClr val="bg1"/>
                </a:solidFill>
                <a:latin typeface="+mn-lt"/>
              </a:rPr>
              <a:t> Model outputs on 2017 campaign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1252843"/>
            <a:ext cx="4363643" cy="2692991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14621" y="1170844"/>
            <a:ext cx="4629379" cy="2856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81474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0503" y="20779"/>
            <a:ext cx="9112499" cy="386726"/>
          </a:xfrm>
          <a:solidFill>
            <a:schemeClr val="accent1">
              <a:lumMod val="50000"/>
            </a:schemeClr>
          </a:solidFill>
        </p:spPr>
        <p:txBody>
          <a:bodyPr lIns="0" tIns="0" rIns="0" bIns="45716"/>
          <a:lstStyle/>
          <a:p>
            <a:r>
              <a:rPr lang="en-US" sz="2200" dirty="0">
                <a:solidFill>
                  <a:schemeClr val="bg1"/>
                </a:solidFill>
                <a:latin typeface="+mn-lt"/>
              </a:rPr>
              <a:t>Model outputs on 2017 campaign</a:t>
            </a:r>
          </a:p>
        </p:txBody>
      </p:sp>
      <p:sp>
        <p:nvSpPr>
          <p:cNvPr id="6" name="Rectangle: Rounded Corners 5"/>
          <p:cNvSpPr/>
          <p:nvPr/>
        </p:nvSpPr>
        <p:spPr>
          <a:xfrm>
            <a:off x="5943114" y="1683155"/>
            <a:ext cx="2962347" cy="1770698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The initial percentiles have 3 times more response than base response of 21%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The initial 50 percentile of customers consist of about 75% of responders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03" y="957598"/>
            <a:ext cx="5598728" cy="3455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87346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&gt;&lt;m_bNumberIsYear val=&quot;0&quot;/&gt;&lt;m_strFormatTime&gt;%d.&lt;/m_strFormatTime&gt;&lt;/m_precDefaultWeek&gt;&lt;m_precDefaultDay&gt;&lt;m_bNumberIsYear val=&quot;0&quot;/&gt;&lt;m_strFormatTime&gt;%#d&lt;/m_strFormatTime&gt;&lt;/m_precDefaultDay&gt;&lt;m_mruColor&gt;&lt;m_vecMRU length=&quot;6&quot;&gt;&lt;elem m_fUsage=&quot;4.05535410999999970000E+000&quot;&gt;&lt;m_msothmcolidx val=&quot;0&quot;/&gt;&lt;m_rgb r=&quot;0&quot; g=&quot;8c&quot; b=&quot;c2&quot;/&gt;&lt;m_ppcolschidx tagver0=&quot;23004&quot; tagname0=&quot;m_ppcolschidxUNRECOGNIZED&quot; val=&quot;0&quot;/&gt;&lt;m_nBrightness val=&quot;0&quot;/&gt;&lt;/elem&gt;&lt;elem m_fUsage=&quot;3.22278245412378480000E+000&quot;&gt;&lt;m_msothmcolidx val=&quot;0&quot;/&gt;&lt;m_rgb r=&quot;25&quot; g=&quot;b7&quot; b=&quot;e0&quot;/&gt;&lt;m_ppcolschidx tagver0=&quot;23004&quot; tagname0=&quot;m_ppcolschidxUNRECOGNIZED&quot; val=&quot;0&quot;/&gt;&lt;m_nBrightness val=&quot;0&quot;/&gt;&lt;/elem&gt;&lt;elem m_fUsage=&quot;1.04990952519000010000E+000&quot;&gt;&lt;m_msothmcolidx val=&quot;0&quot;/&gt;&lt;m_rgb r=&quot;fe&quot; g=&quot;85&quot; b=&quot;2c&quot;/&gt;&lt;m_ppcolschidx tagver0=&quot;23004&quot; tagname0=&quot;m_ppcolschidxUNRECOGNIZED&quot; val=&quot;0&quot;/&gt;&lt;m_nBrightness val=&quot;0&quot;/&gt;&lt;/elem&gt;&lt;elem m_fUsage=&quot;8.10000000000000050000E-001&quot;&gt;&lt;m_msothmcolidx val=&quot;0&quot;/&gt;&lt;m_rgb r=&quot;fa&quot; g=&quot;b0&quot; b=&quot;23&quot;/&gt;&lt;m_ppcolschidx tagver0=&quot;23004&quot; tagname0=&quot;m_ppcolschidxUNRECOGNIZED&quot; val=&quot;0&quot;/&gt;&lt;m_nBrightness val=&quot;0&quot;/&gt;&lt;/elem&gt;&lt;elem m_fUsage=&quot;4.31715544790871210000E-001&quot;&gt;&lt;m_msothmcolidx val=&quot;0&quot;/&gt;&lt;m_rgb r=&quot;bf&quot; g=&quot;bf&quot; b=&quot;bf&quot;/&gt;&lt;m_ppcolschidx tagver0=&quot;23004&quot; tagname0=&quot;m_ppcolschidxUNRECOGNIZED&quot; val=&quot;0&quot;/&gt;&lt;m_nBrightness val=&quot;0&quot;/&gt;&lt;/elem&gt;&lt;elem m_fUsage=&quot;2.82429536481000170000E-001&quot;&gt;&lt;m_msothmcolidx val=&quot;0&quot;/&gt;&lt;m_rgb r=&quot;d5&quot; g=&quot;f0&quot; b=&quot;f9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heme/theme1.xml><?xml version="1.0" encoding="utf-8"?>
<a:theme xmlns:a="http://schemas.openxmlformats.org/drawingml/2006/main" name="2_Office Theme">
  <a:themeElements>
    <a:clrScheme name="Custom 61">
      <a:dk1>
        <a:srgbClr val="000000"/>
      </a:dk1>
      <a:lt1>
        <a:sysClr val="window" lastClr="FFFFFF"/>
      </a:lt1>
      <a:dk2>
        <a:srgbClr val="000000"/>
      </a:dk2>
      <a:lt2>
        <a:srgbClr val="FFFFFF"/>
      </a:lt2>
      <a:accent1>
        <a:srgbClr val="008CC2"/>
      </a:accent1>
      <a:accent2>
        <a:srgbClr val="25B7E0"/>
      </a:accent2>
      <a:accent3>
        <a:srgbClr val="5A5D60"/>
      </a:accent3>
      <a:accent4>
        <a:srgbClr val="6F5091"/>
      </a:accent4>
      <a:accent5>
        <a:srgbClr val="FC9A2D"/>
      </a:accent5>
      <a:accent6>
        <a:srgbClr val="F57E4D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282</TotalTime>
  <Words>818</Words>
  <Application>Microsoft Office PowerPoint</Application>
  <PresentationFormat>On-screen Show (16:9)</PresentationFormat>
  <Paragraphs>245</Paragraphs>
  <Slides>12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5" baseType="lpstr">
      <vt:lpstr>Arial</vt:lpstr>
      <vt:lpstr>Avenir Black</vt:lpstr>
      <vt:lpstr>Avenir Light</vt:lpstr>
      <vt:lpstr>Avenir LT Std 35 Light</vt:lpstr>
      <vt:lpstr>Avenir LT Std 45 Book</vt:lpstr>
      <vt:lpstr>Avenir LT Std 65 Medium</vt:lpstr>
      <vt:lpstr>Avenir LT Std 95 Black</vt:lpstr>
      <vt:lpstr>AvenirNext LT Pro Regular</vt:lpstr>
      <vt:lpstr>Calibri</vt:lpstr>
      <vt:lpstr>Lucida Sans</vt:lpstr>
      <vt:lpstr>Wingdings</vt:lpstr>
      <vt:lpstr>2_Office Theme</vt:lpstr>
      <vt:lpstr>think-cell Slide</vt:lpstr>
      <vt:lpstr>PowerPoint Presentation</vt:lpstr>
      <vt:lpstr> BACKGROUND AND OBJECTIVE</vt:lpstr>
      <vt:lpstr>  Variables used in modeling :</vt:lpstr>
      <vt:lpstr> </vt:lpstr>
      <vt:lpstr> Model outputs on 2016 campaigns</vt:lpstr>
      <vt:lpstr>Model outputs on 2016 campaigns</vt:lpstr>
      <vt:lpstr>At Decile Level </vt:lpstr>
      <vt:lpstr> Model outputs on 2017 campaign</vt:lpstr>
      <vt:lpstr>Model outputs on 2017 campaign</vt:lpstr>
      <vt:lpstr>Model outputs on 2017 campaign</vt:lpstr>
      <vt:lpstr> Appendix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rbara</dc:creator>
  <cp:lastModifiedBy>Saumya Sharma</cp:lastModifiedBy>
  <cp:revision>2286</cp:revision>
  <cp:lastPrinted>2016-10-11T16:44:59Z</cp:lastPrinted>
  <dcterms:created xsi:type="dcterms:W3CDTF">2016-01-16T21:56:10Z</dcterms:created>
  <dcterms:modified xsi:type="dcterms:W3CDTF">2017-10-17T11:21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otesPageLayout">
    <vt:lpwstr>Message</vt:lpwstr>
  </property>
  <property fmtid="{D5CDD505-2E9C-101B-9397-08002B2CF9AE}" pid="3" name="Title">
    <vt:lpwstr>PowerPoint Presentation</vt:lpwstr>
  </property>
  <property fmtid="{D5CDD505-2E9C-101B-9397-08002B2CF9AE}" pid="4" name="Final">
    <vt:bool>true</vt:bool>
  </property>
  <property fmtid="{D5CDD505-2E9C-101B-9397-08002B2CF9AE}" pid="5" name="Event">
    <vt:lpwstr/>
  </property>
  <property fmtid="{D5CDD505-2E9C-101B-9397-08002B2CF9AE}" pid="6" name="Delivery Date">
    <vt:lpwstr/>
  </property>
  <property fmtid="{D5CDD505-2E9C-101B-9397-08002B2CF9AE}" pid="7" name="docid">
    <vt:lpwstr/>
  </property>
</Properties>
</file>